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3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4.xml" ContentType="application/vnd.openxmlformats-officedocument.them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notesSlides/notesSlide2.xml" ContentType="application/vnd.openxmlformats-officedocument.presentationml.notesSlid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9" r:id="rId1"/>
    <p:sldMasterId id="2147483712" r:id="rId2"/>
    <p:sldMasterId id="2147483785" r:id="rId3"/>
    <p:sldMasterId id="2147483834" r:id="rId4"/>
  </p:sldMasterIdLst>
  <p:notesMasterIdLst>
    <p:notesMasterId r:id="rId10"/>
  </p:notesMasterIdLst>
  <p:handoutMasterIdLst>
    <p:handoutMasterId r:id="rId11"/>
  </p:handoutMasterIdLst>
  <p:sldIdLst>
    <p:sldId id="452" r:id="rId5"/>
    <p:sldId id="579" r:id="rId6"/>
    <p:sldId id="576" r:id="rId7"/>
    <p:sldId id="580" r:id="rId8"/>
    <p:sldId id="581" r:id="rId9"/>
  </p:sldIdLst>
  <p:sldSz cx="9144000" cy="6858000" type="screen4x3"/>
  <p:notesSz cx="6797675" cy="9926638"/>
  <p:custDataLst>
    <p:tags r:id="rId12"/>
  </p:custDataLst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struzioni" id="{E0561466-C59A-438B-BB3A-25C8B0C4C4D7}">
          <p14:sldIdLst>
            <p14:sldId id="452"/>
            <p14:sldId id="579"/>
            <p14:sldId id="576"/>
            <p14:sldId id="580"/>
            <p14:sldId id="58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643" userDrawn="1">
          <p15:clr>
            <a:srgbClr val="A4A3A4"/>
          </p15:clr>
        </p15:guide>
        <p15:guide id="4" orient="horz" pos="3855" userDrawn="1">
          <p15:clr>
            <a:srgbClr val="A4A3A4"/>
          </p15:clr>
        </p15:guide>
        <p15:guide id="5" pos="176" userDrawn="1">
          <p15:clr>
            <a:srgbClr val="A4A3A4"/>
          </p15:clr>
        </p15:guide>
        <p15:guide id="6" pos="5585" userDrawn="1">
          <p15:clr>
            <a:srgbClr val="A4A3A4"/>
          </p15:clr>
        </p15:guide>
        <p15:guide id="7" orient="horz" pos="1827" userDrawn="1">
          <p15:clr>
            <a:srgbClr val="A4A3A4"/>
          </p15:clr>
        </p15:guide>
        <p15:guide id="8" orient="horz" pos="67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DC01"/>
    <a:srgbClr val="B2B2B2"/>
    <a:srgbClr val="C0C0C0"/>
    <a:srgbClr val="707173"/>
    <a:srgbClr val="0047BB"/>
    <a:srgbClr val="3B3B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F2DE63D5-997A-4646-A377-4702673A728D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Stile medio 3 - Colore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Stile chiaro 2 - Colore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792" autoAdjust="0"/>
    <p:restoredTop sz="99541" autoAdjust="0"/>
  </p:normalViewPr>
  <p:slideViewPr>
    <p:cSldViewPr snapToGrid="0" showGuides="1">
      <p:cViewPr varScale="1">
        <p:scale>
          <a:sx n="74" d="100"/>
          <a:sy n="74" d="100"/>
        </p:scale>
        <p:origin x="1380" y="72"/>
      </p:cViewPr>
      <p:guideLst>
        <p:guide orient="horz" pos="2160"/>
        <p:guide pos="2880"/>
        <p:guide orient="horz" pos="643"/>
        <p:guide orient="horz" pos="3855"/>
        <p:guide pos="176"/>
        <p:guide pos="5585"/>
        <p:guide orient="horz" pos="1827"/>
        <p:guide orient="horz" pos="671"/>
      </p:guideLst>
    </p:cSldViewPr>
  </p:slideViewPr>
  <p:notesTextViewPr>
    <p:cViewPr>
      <p:scale>
        <a:sx n="75" d="100"/>
        <a:sy n="75" d="100"/>
      </p:scale>
      <p:origin x="0" y="0"/>
    </p:cViewPr>
  </p:notesTextViewPr>
  <p:notesViewPr>
    <p:cSldViewPr snapToGrid="0" showGuides="1">
      <p:cViewPr varScale="1">
        <p:scale>
          <a:sx n="98" d="100"/>
          <a:sy n="98" d="100"/>
        </p:scale>
        <p:origin x="-3504" y="-96"/>
      </p:cViewPr>
      <p:guideLst>
        <p:guide orient="horz" pos="2880"/>
        <p:guide pos="2160"/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60" cy="496332"/>
          </a:xfrm>
          <a:prstGeom prst="rect">
            <a:avLst/>
          </a:prstGeom>
        </p:spPr>
        <p:txBody>
          <a:bodyPr vert="horz" lIns="95552" tIns="47777" rIns="95552" bIns="47777" rtlCol="0"/>
          <a:lstStyle>
            <a:lvl1pPr algn="l">
              <a:defRPr sz="13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43" y="1"/>
            <a:ext cx="2945660" cy="496332"/>
          </a:xfrm>
          <a:prstGeom prst="rect">
            <a:avLst/>
          </a:prstGeom>
        </p:spPr>
        <p:txBody>
          <a:bodyPr vert="horz" lIns="95552" tIns="47777" rIns="95552" bIns="47777" rtlCol="0"/>
          <a:lstStyle>
            <a:lvl1pPr algn="r">
              <a:defRPr sz="1300"/>
            </a:lvl1pPr>
          </a:lstStyle>
          <a:p>
            <a:fld id="{0BA27F44-93BE-4FB7-9E19-7A628A7EB4B3}" type="datetimeFigureOut">
              <a:rPr lang="it-IT" smtClean="0"/>
              <a:t>08/02/2018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60" cy="496332"/>
          </a:xfrm>
          <a:prstGeom prst="rect">
            <a:avLst/>
          </a:prstGeom>
        </p:spPr>
        <p:txBody>
          <a:bodyPr vert="horz" lIns="95552" tIns="47777" rIns="95552" bIns="47777" rtlCol="0" anchor="b"/>
          <a:lstStyle>
            <a:lvl1pPr algn="l">
              <a:defRPr sz="13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60" cy="496332"/>
          </a:xfrm>
          <a:prstGeom prst="rect">
            <a:avLst/>
          </a:prstGeom>
        </p:spPr>
        <p:txBody>
          <a:bodyPr vert="horz" lIns="95552" tIns="47777" rIns="95552" bIns="47777" rtlCol="0" anchor="b"/>
          <a:lstStyle>
            <a:lvl1pPr algn="r">
              <a:defRPr sz="1300"/>
            </a:lvl1pPr>
          </a:lstStyle>
          <a:p>
            <a:fld id="{B34D4E57-A626-483B-A2BF-75876291785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934430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8056"/>
          </a:xfrm>
          <a:prstGeom prst="rect">
            <a:avLst/>
          </a:prstGeom>
        </p:spPr>
        <p:txBody>
          <a:bodyPr vert="horz" lIns="95552" tIns="47777" rIns="95552" bIns="47777" rtlCol="0"/>
          <a:lstStyle>
            <a:lvl1pPr algn="l">
              <a:defRPr sz="13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60" cy="498056"/>
          </a:xfrm>
          <a:prstGeom prst="rect">
            <a:avLst/>
          </a:prstGeom>
        </p:spPr>
        <p:txBody>
          <a:bodyPr vert="horz" lIns="95552" tIns="47777" rIns="95552" bIns="47777" rtlCol="0"/>
          <a:lstStyle>
            <a:lvl1pPr algn="r">
              <a:defRPr sz="1300"/>
            </a:lvl1pPr>
          </a:lstStyle>
          <a:p>
            <a:fld id="{3BEDB3C5-AE6C-4732-8E2E-E751C6E2559C}" type="datetimeFigureOut">
              <a:rPr lang="it-IT" smtClean="0"/>
              <a:t>08/02/2018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52" tIns="47777" rIns="95552" bIns="47777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3"/>
          </a:xfrm>
          <a:prstGeom prst="rect">
            <a:avLst/>
          </a:prstGeom>
        </p:spPr>
        <p:txBody>
          <a:bodyPr vert="horz" lIns="95552" tIns="47777" rIns="95552" bIns="47777" rtlCol="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5"/>
            <a:ext cx="2945660" cy="498055"/>
          </a:xfrm>
          <a:prstGeom prst="rect">
            <a:avLst/>
          </a:prstGeom>
        </p:spPr>
        <p:txBody>
          <a:bodyPr vert="horz" lIns="95552" tIns="47777" rIns="95552" bIns="47777" rtlCol="0" anchor="b"/>
          <a:lstStyle>
            <a:lvl1pPr algn="l">
              <a:defRPr sz="13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5"/>
            <a:ext cx="2945660" cy="498055"/>
          </a:xfrm>
          <a:prstGeom prst="rect">
            <a:avLst/>
          </a:prstGeom>
        </p:spPr>
        <p:txBody>
          <a:bodyPr vert="horz" lIns="95552" tIns="47777" rIns="95552" bIns="47777" rtlCol="0" anchor="b"/>
          <a:lstStyle>
            <a:lvl1pPr algn="r">
              <a:defRPr sz="1300"/>
            </a:lvl1pPr>
          </a:lstStyle>
          <a:p>
            <a:fld id="{44394A5F-BBD8-48D1-BFB7-ADE00A536AA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258095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dirty="0"/>
              <a:t>The </a:t>
            </a:r>
            <a:r>
              <a:rPr lang="it-IT" dirty="0" err="1"/>
              <a:t>most</a:t>
            </a:r>
            <a:r>
              <a:rPr lang="it-IT" dirty="0"/>
              <a:t> </a:t>
            </a:r>
            <a:r>
              <a:rPr lang="it-IT" dirty="0" err="1"/>
              <a:t>important</a:t>
            </a:r>
            <a:r>
              <a:rPr lang="it-IT" dirty="0"/>
              <a:t> </a:t>
            </a:r>
            <a:r>
              <a:rPr lang="it-IT" dirty="0" err="1"/>
              <a:t>change</a:t>
            </a:r>
            <a:r>
              <a:rPr lang="it-IT" dirty="0"/>
              <a:t> in the Network </a:t>
            </a:r>
            <a:r>
              <a:rPr lang="it-IT" dirty="0" err="1"/>
              <a:t>is</a:t>
            </a:r>
            <a:r>
              <a:rPr lang="it-IT" dirty="0"/>
              <a:t> the </a:t>
            </a:r>
            <a:r>
              <a:rPr lang="it-IT" dirty="0" err="1"/>
              <a:t>implementation</a:t>
            </a:r>
            <a:r>
              <a:rPr lang="it-IT" dirty="0"/>
              <a:t> of the new delivery model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dirty="0" err="1"/>
              <a:t>This</a:t>
            </a:r>
            <a:r>
              <a:rPr lang="it-IT" dirty="0"/>
              <a:t> model </a:t>
            </a:r>
            <a:r>
              <a:rPr lang="it-IT" dirty="0" err="1"/>
              <a:t>is</a:t>
            </a:r>
            <a:r>
              <a:rPr lang="it-IT" dirty="0"/>
              <a:t> </a:t>
            </a:r>
            <a:r>
              <a:rPr lang="it-IT" dirty="0" err="1"/>
              <a:t>based</a:t>
            </a:r>
            <a:r>
              <a:rPr lang="it-IT" dirty="0"/>
              <a:t> on </a:t>
            </a:r>
            <a:r>
              <a:rPr lang="it-IT" dirty="0" err="1"/>
              <a:t>applying</a:t>
            </a:r>
            <a:r>
              <a:rPr lang="it-IT" dirty="0"/>
              <a:t> 3 </a:t>
            </a:r>
            <a:r>
              <a:rPr lang="it-IT" dirty="0" err="1"/>
              <a:t>different</a:t>
            </a:r>
            <a:r>
              <a:rPr lang="it-IT" dirty="0"/>
              <a:t> </a:t>
            </a:r>
            <a:r>
              <a:rPr lang="it-IT" dirty="0" err="1"/>
              <a:t>approaches</a:t>
            </a:r>
            <a:r>
              <a:rPr lang="it-IT" dirty="0"/>
              <a:t>, </a:t>
            </a:r>
            <a:r>
              <a:rPr lang="it-IT" dirty="0" err="1"/>
              <a:t>based</a:t>
            </a:r>
            <a:r>
              <a:rPr lang="it-IT" dirty="0"/>
              <a:t> on the </a:t>
            </a:r>
            <a:r>
              <a:rPr lang="it-IT" dirty="0" err="1"/>
              <a:t>intrinsic</a:t>
            </a:r>
            <a:r>
              <a:rPr lang="it-IT" dirty="0"/>
              <a:t> </a:t>
            </a:r>
            <a:r>
              <a:rPr lang="it-IT" dirty="0" err="1"/>
              <a:t>characteristics</a:t>
            </a:r>
            <a:r>
              <a:rPr lang="it-IT" dirty="0"/>
              <a:t> of </a:t>
            </a:r>
            <a:r>
              <a:rPr lang="it-IT" dirty="0" err="1"/>
              <a:t>each</a:t>
            </a:r>
            <a:r>
              <a:rPr lang="it-IT" dirty="0"/>
              <a:t> area, </a:t>
            </a:r>
            <a:r>
              <a:rPr lang="it-IT" dirty="0" err="1"/>
              <a:t>mainly</a:t>
            </a:r>
            <a:r>
              <a:rPr lang="it-IT" dirty="0"/>
              <a:t> in </a:t>
            </a:r>
            <a:r>
              <a:rPr lang="it-IT" dirty="0" err="1"/>
              <a:t>terms</a:t>
            </a:r>
            <a:r>
              <a:rPr lang="it-IT" dirty="0"/>
              <a:t> of </a:t>
            </a:r>
            <a:r>
              <a:rPr lang="it-IT" dirty="0" err="1"/>
              <a:t>drop</a:t>
            </a:r>
            <a:r>
              <a:rPr lang="it-IT" dirty="0"/>
              <a:t> </a:t>
            </a:r>
            <a:r>
              <a:rPr lang="it-IT" dirty="0" err="1"/>
              <a:t>density</a:t>
            </a:r>
            <a:r>
              <a:rPr lang="it-IT" dirty="0"/>
              <a:t> and </a:t>
            </a:r>
            <a:r>
              <a:rPr lang="it-IT" dirty="0" err="1"/>
              <a:t>competition</a:t>
            </a:r>
            <a:r>
              <a:rPr lang="it-IT" dirty="0"/>
              <a:t> </a:t>
            </a:r>
            <a:r>
              <a:rPr lang="it-IT" dirty="0" err="1"/>
              <a:t>level</a:t>
            </a:r>
            <a:r>
              <a:rPr lang="it-IT" dirty="0"/>
              <a:t>.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it-IT" dirty="0"/>
              <a:t>For </a:t>
            </a:r>
            <a:r>
              <a:rPr lang="it-IT" dirty="0" err="1"/>
              <a:t>rural</a:t>
            </a:r>
            <a:r>
              <a:rPr lang="it-IT" dirty="0"/>
              <a:t> </a:t>
            </a:r>
            <a:r>
              <a:rPr lang="it-IT" dirty="0" err="1"/>
              <a:t>areas</a:t>
            </a:r>
            <a:r>
              <a:rPr lang="it-IT" dirty="0"/>
              <a:t>, </a:t>
            </a:r>
            <a:r>
              <a:rPr lang="it-IT" dirty="0" err="1"/>
              <a:t>we</a:t>
            </a:r>
            <a:r>
              <a:rPr lang="it-IT" dirty="0"/>
              <a:t> </a:t>
            </a:r>
            <a:r>
              <a:rPr lang="it-IT" dirty="0" err="1"/>
              <a:t>will</a:t>
            </a:r>
            <a:r>
              <a:rPr lang="it-IT" dirty="0"/>
              <a:t> </a:t>
            </a:r>
            <a:r>
              <a:rPr lang="it-IT" dirty="0" err="1"/>
              <a:t>provide</a:t>
            </a:r>
            <a:r>
              <a:rPr lang="it-IT" dirty="0"/>
              <a:t> </a:t>
            </a:r>
            <a:r>
              <a:rPr lang="it-IT" dirty="0" err="1"/>
              <a:t>every-other-day</a:t>
            </a:r>
            <a:r>
              <a:rPr lang="it-IT" dirty="0"/>
              <a:t> delivery – </a:t>
            </a:r>
            <a:r>
              <a:rPr lang="it-IT" dirty="0" err="1"/>
              <a:t>mazimizing</a:t>
            </a:r>
            <a:r>
              <a:rPr lang="it-IT" dirty="0"/>
              <a:t> </a:t>
            </a:r>
            <a:r>
              <a:rPr lang="it-IT" dirty="0" err="1"/>
              <a:t>efficiency</a:t>
            </a:r>
            <a:r>
              <a:rPr lang="it-IT" dirty="0"/>
              <a:t> 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it-IT" dirty="0"/>
              <a:t>For </a:t>
            </a:r>
            <a:r>
              <a:rPr lang="it-IT" dirty="0" err="1"/>
              <a:t>urban</a:t>
            </a:r>
            <a:r>
              <a:rPr lang="it-IT" dirty="0"/>
              <a:t> </a:t>
            </a:r>
            <a:r>
              <a:rPr lang="it-IT" dirty="0" err="1"/>
              <a:t>areas</a:t>
            </a:r>
            <a:r>
              <a:rPr lang="it-IT" dirty="0"/>
              <a:t>, </a:t>
            </a:r>
            <a:r>
              <a:rPr lang="it-IT" dirty="0" err="1"/>
              <a:t>we</a:t>
            </a:r>
            <a:r>
              <a:rPr lang="it-IT" dirty="0"/>
              <a:t> </a:t>
            </a:r>
            <a:r>
              <a:rPr lang="it-IT" dirty="0" err="1"/>
              <a:t>will</a:t>
            </a:r>
            <a:r>
              <a:rPr lang="it-IT" dirty="0"/>
              <a:t> </a:t>
            </a:r>
            <a:r>
              <a:rPr lang="it-IT" dirty="0" err="1"/>
              <a:t>provide</a:t>
            </a:r>
            <a:r>
              <a:rPr lang="it-IT" dirty="0"/>
              <a:t> (i) </a:t>
            </a:r>
            <a:r>
              <a:rPr lang="it-IT" dirty="0" err="1"/>
              <a:t>every-other-day</a:t>
            </a:r>
            <a:r>
              <a:rPr lang="it-IT" dirty="0"/>
              <a:t> </a:t>
            </a:r>
            <a:r>
              <a:rPr lang="it-IT" dirty="0" err="1"/>
              <a:t>morning</a:t>
            </a:r>
            <a:r>
              <a:rPr lang="it-IT" dirty="0"/>
              <a:t> delivery for </a:t>
            </a:r>
            <a:r>
              <a:rPr lang="it-IT" dirty="0" err="1"/>
              <a:t>unregistered</a:t>
            </a:r>
            <a:r>
              <a:rPr lang="it-IT" dirty="0"/>
              <a:t> mail and (ii) </a:t>
            </a:r>
            <a:r>
              <a:rPr lang="it-IT" dirty="0" err="1"/>
              <a:t>daily</a:t>
            </a:r>
            <a:r>
              <a:rPr lang="it-IT" dirty="0"/>
              <a:t> </a:t>
            </a:r>
            <a:r>
              <a:rPr lang="it-IT" dirty="0" err="1"/>
              <a:t>additional</a:t>
            </a:r>
            <a:r>
              <a:rPr lang="it-IT" dirty="0"/>
              <a:t> </a:t>
            </a:r>
            <a:r>
              <a:rPr lang="it-IT" dirty="0" err="1"/>
              <a:t>afternoon</a:t>
            </a:r>
            <a:r>
              <a:rPr lang="it-IT" dirty="0"/>
              <a:t> line for </a:t>
            </a:r>
            <a:r>
              <a:rPr lang="it-IT" dirty="0" err="1"/>
              <a:t>parcel</a:t>
            </a:r>
            <a:r>
              <a:rPr lang="it-IT" dirty="0"/>
              <a:t> and </a:t>
            </a:r>
            <a:r>
              <a:rPr lang="it-IT" dirty="0" err="1"/>
              <a:t>registered</a:t>
            </a:r>
            <a:r>
              <a:rPr lang="it-IT" dirty="0"/>
              <a:t> mail – </a:t>
            </a:r>
            <a:r>
              <a:rPr lang="it-IT" dirty="0" err="1"/>
              <a:t>maximizing</a:t>
            </a:r>
            <a:r>
              <a:rPr lang="it-IT" dirty="0"/>
              <a:t> </a:t>
            </a:r>
            <a:r>
              <a:rPr lang="it-IT" dirty="0" err="1"/>
              <a:t>efficiency</a:t>
            </a:r>
            <a:r>
              <a:rPr lang="it-IT" dirty="0"/>
              <a:t> </a:t>
            </a:r>
            <a:r>
              <a:rPr lang="it-IT" dirty="0" err="1"/>
              <a:t>while</a:t>
            </a:r>
            <a:r>
              <a:rPr lang="it-IT" dirty="0"/>
              <a:t> </a:t>
            </a:r>
            <a:r>
              <a:rPr lang="it-IT" dirty="0" err="1"/>
              <a:t>still</a:t>
            </a:r>
            <a:r>
              <a:rPr lang="it-IT" dirty="0"/>
              <a:t> </a:t>
            </a:r>
            <a:r>
              <a:rPr lang="it-IT" dirty="0" err="1"/>
              <a:t>providing</a:t>
            </a:r>
            <a:r>
              <a:rPr lang="it-IT" dirty="0"/>
              <a:t> </a:t>
            </a:r>
            <a:r>
              <a:rPr lang="it-IT" dirty="0" err="1"/>
              <a:t>daily</a:t>
            </a:r>
            <a:r>
              <a:rPr lang="it-IT" dirty="0"/>
              <a:t> delivery for </a:t>
            </a:r>
            <a:r>
              <a:rPr lang="it-IT" dirty="0" err="1"/>
              <a:t>selected</a:t>
            </a:r>
            <a:r>
              <a:rPr lang="it-IT" dirty="0"/>
              <a:t> </a:t>
            </a:r>
            <a:r>
              <a:rPr lang="it-IT" dirty="0" err="1"/>
              <a:t>products</a:t>
            </a:r>
            <a:endParaRPr lang="it-IT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it-IT" dirty="0"/>
              <a:t>For large metro </a:t>
            </a:r>
            <a:r>
              <a:rPr lang="it-IT" dirty="0" err="1"/>
              <a:t>areas</a:t>
            </a:r>
            <a:r>
              <a:rPr lang="it-IT" dirty="0"/>
              <a:t>, </a:t>
            </a:r>
            <a:r>
              <a:rPr lang="it-IT" dirty="0" err="1"/>
              <a:t>we</a:t>
            </a:r>
            <a:r>
              <a:rPr lang="it-IT" dirty="0"/>
              <a:t> </a:t>
            </a:r>
            <a:r>
              <a:rPr lang="it-IT" dirty="0" err="1"/>
              <a:t>will</a:t>
            </a:r>
            <a:r>
              <a:rPr lang="it-IT" dirty="0"/>
              <a:t> </a:t>
            </a:r>
            <a:r>
              <a:rPr lang="it-IT" dirty="0" err="1"/>
              <a:t>provide</a:t>
            </a:r>
            <a:r>
              <a:rPr lang="it-IT" dirty="0"/>
              <a:t> (i) </a:t>
            </a:r>
            <a:r>
              <a:rPr lang="it-IT" dirty="0" err="1"/>
              <a:t>daily</a:t>
            </a:r>
            <a:r>
              <a:rPr lang="it-IT" dirty="0"/>
              <a:t> </a:t>
            </a:r>
            <a:r>
              <a:rPr lang="it-IT" dirty="0" err="1"/>
              <a:t>morning</a:t>
            </a:r>
            <a:r>
              <a:rPr lang="it-IT" dirty="0"/>
              <a:t> delivery for </a:t>
            </a:r>
            <a:r>
              <a:rPr lang="it-IT" dirty="0" err="1"/>
              <a:t>unregistered</a:t>
            </a:r>
            <a:r>
              <a:rPr lang="it-IT" dirty="0"/>
              <a:t> mail and (ii) </a:t>
            </a:r>
            <a:r>
              <a:rPr lang="it-IT" dirty="0" err="1"/>
              <a:t>daily</a:t>
            </a:r>
            <a:r>
              <a:rPr lang="it-IT" dirty="0"/>
              <a:t> </a:t>
            </a:r>
            <a:r>
              <a:rPr lang="it-IT" dirty="0" err="1"/>
              <a:t>additional</a:t>
            </a:r>
            <a:r>
              <a:rPr lang="it-IT" dirty="0"/>
              <a:t> </a:t>
            </a:r>
            <a:r>
              <a:rPr lang="it-IT" dirty="0" err="1"/>
              <a:t>afternoon</a:t>
            </a:r>
            <a:r>
              <a:rPr lang="it-IT" dirty="0"/>
              <a:t> line for </a:t>
            </a:r>
            <a:r>
              <a:rPr lang="it-IT" dirty="0" err="1"/>
              <a:t>parcel</a:t>
            </a:r>
            <a:r>
              <a:rPr lang="it-IT" dirty="0"/>
              <a:t> and </a:t>
            </a:r>
            <a:r>
              <a:rPr lang="it-IT" dirty="0" err="1"/>
              <a:t>registered</a:t>
            </a:r>
            <a:r>
              <a:rPr lang="it-IT" dirty="0"/>
              <a:t> mail – </a:t>
            </a:r>
            <a:r>
              <a:rPr lang="it-IT" dirty="0" err="1"/>
              <a:t>maximizing</a:t>
            </a:r>
            <a:r>
              <a:rPr lang="it-IT" dirty="0"/>
              <a:t> </a:t>
            </a:r>
            <a:r>
              <a:rPr lang="it-IT" dirty="0" err="1"/>
              <a:t>flexibility</a:t>
            </a:r>
            <a:r>
              <a:rPr lang="it-IT" dirty="0"/>
              <a:t> </a:t>
            </a:r>
            <a:r>
              <a:rPr lang="it-IT" dirty="0" err="1"/>
              <a:t>while</a:t>
            </a:r>
            <a:r>
              <a:rPr lang="it-IT" dirty="0"/>
              <a:t> </a:t>
            </a:r>
            <a:r>
              <a:rPr lang="it-IT" dirty="0" err="1"/>
              <a:t>fully</a:t>
            </a:r>
            <a:r>
              <a:rPr lang="it-IT" dirty="0"/>
              <a:t> </a:t>
            </a:r>
            <a:r>
              <a:rPr lang="it-IT" dirty="0" err="1"/>
              <a:t>answering</a:t>
            </a:r>
            <a:r>
              <a:rPr lang="it-IT" dirty="0"/>
              <a:t> to </a:t>
            </a:r>
            <a:r>
              <a:rPr lang="it-IT" dirty="0" err="1"/>
              <a:t>customer</a:t>
            </a:r>
            <a:r>
              <a:rPr lang="it-IT" dirty="0"/>
              <a:t> </a:t>
            </a:r>
            <a:r>
              <a:rPr lang="it-IT" dirty="0" err="1"/>
              <a:t>preferences</a:t>
            </a:r>
            <a:endParaRPr lang="it-IT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dirty="0" err="1"/>
              <a:t>Thus</a:t>
            </a:r>
            <a:r>
              <a:rPr lang="it-IT" dirty="0"/>
              <a:t>, in general the new delivery model </a:t>
            </a:r>
            <a:r>
              <a:rPr lang="it-IT" dirty="0" err="1"/>
              <a:t>will</a:t>
            </a:r>
            <a:r>
              <a:rPr lang="it-IT" dirty="0"/>
              <a:t> </a:t>
            </a:r>
            <a:r>
              <a:rPr lang="it-IT" dirty="0" err="1"/>
              <a:t>yield</a:t>
            </a:r>
            <a:r>
              <a:rPr lang="it-IT" dirty="0"/>
              <a:t> (i) </a:t>
            </a:r>
            <a:r>
              <a:rPr lang="it-IT" dirty="0" err="1"/>
              <a:t>reduced</a:t>
            </a:r>
            <a:r>
              <a:rPr lang="it-IT" dirty="0"/>
              <a:t> </a:t>
            </a:r>
            <a:r>
              <a:rPr lang="it-IT" dirty="0" err="1"/>
              <a:t>costs</a:t>
            </a:r>
            <a:r>
              <a:rPr lang="it-IT" dirty="0"/>
              <a:t>, (ii) </a:t>
            </a:r>
            <a:r>
              <a:rPr lang="it-IT" dirty="0" err="1"/>
              <a:t>increased</a:t>
            </a:r>
            <a:r>
              <a:rPr lang="it-IT" dirty="0"/>
              <a:t> </a:t>
            </a:r>
            <a:r>
              <a:rPr lang="it-IT" dirty="0" err="1"/>
              <a:t>flexibility</a:t>
            </a:r>
            <a:r>
              <a:rPr lang="it-IT" dirty="0"/>
              <a:t>, and (iii) </a:t>
            </a:r>
            <a:r>
              <a:rPr lang="it-IT" dirty="0" err="1"/>
              <a:t>improved</a:t>
            </a:r>
            <a:r>
              <a:rPr lang="it-IT" dirty="0"/>
              <a:t> service </a:t>
            </a:r>
            <a:r>
              <a:rPr lang="it-IT" dirty="0" err="1"/>
              <a:t>level</a:t>
            </a:r>
            <a:r>
              <a:rPr lang="it-IT" dirty="0"/>
              <a:t> </a:t>
            </a:r>
          </a:p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297114-8223-459F-BAA1-1F578BB7DAD9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164169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E68804-3F00-4F8A-8110-5A89EE7D11C2}" type="slidenum">
              <a:rPr lang="it-IT" smtClean="0">
                <a:solidFill>
                  <a:prstClr val="black"/>
                </a:solidFill>
              </a:rPr>
              <a:pPr/>
              <a:t>4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15015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E68804-3F00-4F8A-8110-5A89EE7D11C2}" type="slidenum">
              <a:rPr lang="it-IT" smtClean="0">
                <a:solidFill>
                  <a:prstClr val="black"/>
                </a:solidFill>
              </a:rPr>
              <a:pPr/>
              <a:t>5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5191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7.jpeg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oleObject" Target="../embeddings/oleObject6.bin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oleObject" Target="../embeddings/oleObject10.bin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13.xml"/><Relationship Id="rId7" Type="http://schemas.openxmlformats.org/officeDocument/2006/relationships/image" Target="../media/image6.emf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6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8.xml"/><Relationship Id="rId4" Type="http://schemas.openxmlformats.org/officeDocument/2006/relationships/tags" Target="../tags/tag17.xml"/><Relationship Id="rId9" Type="http://schemas.openxmlformats.org/officeDocument/2006/relationships/oleObject" Target="../embeddings/oleObject14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0.xml"/><Relationship Id="rId7" Type="http://schemas.openxmlformats.org/officeDocument/2006/relationships/oleObject" Target="../embeddings/oleObject15.bin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9" Type="http://schemas.openxmlformats.org/officeDocument/2006/relationships/oleObject" Target="../embeddings/oleObject16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4.xml"/><Relationship Id="rId7" Type="http://schemas.openxmlformats.org/officeDocument/2006/relationships/oleObject" Target="../embeddings/oleObject17.bin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6.xml"/><Relationship Id="rId4" Type="http://schemas.openxmlformats.org/officeDocument/2006/relationships/tags" Target="../tags/tag25.xml"/><Relationship Id="rId9" Type="http://schemas.openxmlformats.org/officeDocument/2006/relationships/oleObject" Target="../embeddings/oleObject18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8.xml"/><Relationship Id="rId7" Type="http://schemas.openxmlformats.org/officeDocument/2006/relationships/oleObject" Target="../embeddings/oleObject19.bin"/><Relationship Id="rId2" Type="http://schemas.openxmlformats.org/officeDocument/2006/relationships/tags" Target="../tags/tag27.xml"/><Relationship Id="rId1" Type="http://schemas.openxmlformats.org/officeDocument/2006/relationships/vmlDrawing" Target="../drawings/vmlDrawing12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9" Type="http://schemas.openxmlformats.org/officeDocument/2006/relationships/oleObject" Target="../embeddings/oleObject20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oleObject" Target="../embeddings/oleObject22.bin"/><Relationship Id="rId2" Type="http://schemas.openxmlformats.org/officeDocument/2006/relationships/tags" Target="../tags/tag3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oleObject" Target="../embeddings/oleObject24.bin"/><Relationship Id="rId2" Type="http://schemas.openxmlformats.org/officeDocument/2006/relationships/tags" Target="../tags/tag3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36.xml"/><Relationship Id="rId7" Type="http://schemas.openxmlformats.org/officeDocument/2006/relationships/image" Target="../media/image6.emf"/><Relationship Id="rId2" Type="http://schemas.openxmlformats.org/officeDocument/2006/relationships/tags" Target="../tags/tag35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2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7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.bin"/><Relationship Id="rId3" Type="http://schemas.openxmlformats.org/officeDocument/2006/relationships/tags" Target="../tags/tag39.xml"/><Relationship Id="rId7" Type="http://schemas.openxmlformats.org/officeDocument/2006/relationships/image" Target="../media/image6.emf"/><Relationship Id="rId2" Type="http://schemas.openxmlformats.org/officeDocument/2006/relationships/tags" Target="../tags/tag38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2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0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7.jpeg"/><Relationship Id="rId4" Type="http://schemas.openxmlformats.org/officeDocument/2006/relationships/oleObject" Target="../embeddings/oleObject29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oleObject" Target="../embeddings/oleObject31.bin"/><Relationship Id="rId2" Type="http://schemas.openxmlformats.org/officeDocument/2006/relationships/tags" Target="../tags/tag4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45.xml"/><Relationship Id="rId7" Type="http://schemas.openxmlformats.org/officeDocument/2006/relationships/oleObject" Target="../embeddings/oleObject32.bin"/><Relationship Id="rId2" Type="http://schemas.openxmlformats.org/officeDocument/2006/relationships/tags" Target="../tags/tag44.xml"/><Relationship Id="rId1" Type="http://schemas.openxmlformats.org/officeDocument/2006/relationships/vmlDrawing" Target="../drawings/vmlDrawing19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7.xml"/><Relationship Id="rId4" Type="http://schemas.openxmlformats.org/officeDocument/2006/relationships/tags" Target="../tags/tag46.xml"/><Relationship Id="rId9" Type="http://schemas.openxmlformats.org/officeDocument/2006/relationships/oleObject" Target="../embeddings/oleObject33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49.xml"/><Relationship Id="rId7" Type="http://schemas.openxmlformats.org/officeDocument/2006/relationships/oleObject" Target="../embeddings/oleObject34.bin"/><Relationship Id="rId2" Type="http://schemas.openxmlformats.org/officeDocument/2006/relationships/tags" Target="../tags/tag48.xml"/><Relationship Id="rId1" Type="http://schemas.openxmlformats.org/officeDocument/2006/relationships/vmlDrawing" Target="../drawings/vmlDrawing20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1.xml"/><Relationship Id="rId4" Type="http://schemas.openxmlformats.org/officeDocument/2006/relationships/tags" Target="../tags/tag50.xml"/><Relationship Id="rId9" Type="http://schemas.openxmlformats.org/officeDocument/2006/relationships/oleObject" Target="../embeddings/oleObject35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7.jpeg"/><Relationship Id="rId4" Type="http://schemas.openxmlformats.org/officeDocument/2006/relationships/oleObject" Target="../embeddings/oleObject36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54.xml"/><Relationship Id="rId7" Type="http://schemas.openxmlformats.org/officeDocument/2006/relationships/oleObject" Target="../embeddings/oleObject37.bin"/><Relationship Id="rId2" Type="http://schemas.openxmlformats.org/officeDocument/2006/relationships/tags" Target="../tags/tag53.xml"/><Relationship Id="rId1" Type="http://schemas.openxmlformats.org/officeDocument/2006/relationships/vmlDrawing" Target="../drawings/vmlDrawing22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6.xml"/><Relationship Id="rId4" Type="http://schemas.openxmlformats.org/officeDocument/2006/relationships/tags" Target="../tags/tag55.xml"/><Relationship Id="rId9" Type="http://schemas.openxmlformats.org/officeDocument/2006/relationships/oleObject" Target="../embeddings/oleObject38.bin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58.xml"/><Relationship Id="rId7" Type="http://schemas.openxmlformats.org/officeDocument/2006/relationships/oleObject" Target="../embeddings/oleObject39.bin"/><Relationship Id="rId2" Type="http://schemas.openxmlformats.org/officeDocument/2006/relationships/tags" Target="../tags/tag57.xml"/><Relationship Id="rId1" Type="http://schemas.openxmlformats.org/officeDocument/2006/relationships/vmlDrawing" Target="../drawings/vmlDrawing23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60.xml"/><Relationship Id="rId4" Type="http://schemas.openxmlformats.org/officeDocument/2006/relationships/tags" Target="../tags/tag59.xml"/><Relationship Id="rId9" Type="http://schemas.openxmlformats.org/officeDocument/2006/relationships/oleObject" Target="../embeddings/oleObject40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oleObject" Target="../embeddings/oleObject42.bin"/><Relationship Id="rId2" Type="http://schemas.openxmlformats.org/officeDocument/2006/relationships/tags" Target="../tags/tag61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8.jpeg"/><Relationship Id="rId4" Type="http://schemas.openxmlformats.org/officeDocument/2006/relationships/oleObject" Target="../embeddings/oleObject43.bin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65.xml"/><Relationship Id="rId7" Type="http://schemas.openxmlformats.org/officeDocument/2006/relationships/oleObject" Target="../embeddings/oleObject44.bin"/><Relationship Id="rId2" Type="http://schemas.openxmlformats.org/officeDocument/2006/relationships/tags" Target="../tags/tag64.xml"/><Relationship Id="rId1" Type="http://schemas.openxmlformats.org/officeDocument/2006/relationships/vmlDrawing" Target="../drawings/vmlDrawing2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67.xml"/><Relationship Id="rId4" Type="http://schemas.openxmlformats.org/officeDocument/2006/relationships/tags" Target="../tags/tag66.xml"/><Relationship Id="rId9" Type="http://schemas.openxmlformats.org/officeDocument/2006/relationships/oleObject" Target="../embeddings/oleObject45.bin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69.xml"/><Relationship Id="rId7" Type="http://schemas.openxmlformats.org/officeDocument/2006/relationships/oleObject" Target="../embeddings/oleObject46.bin"/><Relationship Id="rId2" Type="http://schemas.openxmlformats.org/officeDocument/2006/relationships/tags" Target="../tags/tag68.xml"/><Relationship Id="rId1" Type="http://schemas.openxmlformats.org/officeDocument/2006/relationships/vmlDrawing" Target="../drawings/vmlDrawing27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71.xml"/><Relationship Id="rId4" Type="http://schemas.openxmlformats.org/officeDocument/2006/relationships/tags" Target="../tags/tag70.xml"/><Relationship Id="rId9" Type="http://schemas.openxmlformats.org/officeDocument/2006/relationships/oleObject" Target="../embeddings/oleObject47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2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7.jpeg"/><Relationship Id="rId4" Type="http://schemas.openxmlformats.org/officeDocument/2006/relationships/oleObject" Target="../embeddings/oleObject48.bin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74.xml"/><Relationship Id="rId7" Type="http://schemas.openxmlformats.org/officeDocument/2006/relationships/oleObject" Target="../embeddings/oleObject49.bin"/><Relationship Id="rId2" Type="http://schemas.openxmlformats.org/officeDocument/2006/relationships/tags" Target="../tags/tag73.xml"/><Relationship Id="rId1" Type="http://schemas.openxmlformats.org/officeDocument/2006/relationships/vmlDrawing" Target="../drawings/vmlDrawing29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76.xml"/><Relationship Id="rId4" Type="http://schemas.openxmlformats.org/officeDocument/2006/relationships/tags" Target="../tags/tag75.xml"/><Relationship Id="rId9" Type="http://schemas.openxmlformats.org/officeDocument/2006/relationships/oleObject" Target="../embeddings/oleObject50.bin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78.xml"/><Relationship Id="rId7" Type="http://schemas.openxmlformats.org/officeDocument/2006/relationships/oleObject" Target="../embeddings/oleObject51.bin"/><Relationship Id="rId2" Type="http://schemas.openxmlformats.org/officeDocument/2006/relationships/tags" Target="../tags/tag77.xml"/><Relationship Id="rId1" Type="http://schemas.openxmlformats.org/officeDocument/2006/relationships/vmlDrawing" Target="../drawings/vmlDrawing30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80.xml"/><Relationship Id="rId4" Type="http://schemas.openxmlformats.org/officeDocument/2006/relationships/tags" Target="../tags/tag79.xml"/><Relationship Id="rId9" Type="http://schemas.openxmlformats.org/officeDocument/2006/relationships/oleObject" Target="../embeddings/oleObject52.bin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7.jpeg"/><Relationship Id="rId4" Type="http://schemas.openxmlformats.org/officeDocument/2006/relationships/oleObject" Target="../embeddings/oleObject54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oleObject" Target="../embeddings/oleObject56.bin"/><Relationship Id="rId2" Type="http://schemas.openxmlformats.org/officeDocument/2006/relationships/tags" Target="../tags/tag83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oleObject" Target="../embeddings/oleObject58.bin"/><Relationship Id="rId2" Type="http://schemas.openxmlformats.org/officeDocument/2006/relationships/tags" Target="../tags/tag8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oleObject" Target="../embeddings/oleObject60.bin"/><Relationship Id="rId2" Type="http://schemas.openxmlformats.org/officeDocument/2006/relationships/tags" Target="../tags/tag87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2.bin"/><Relationship Id="rId3" Type="http://schemas.openxmlformats.org/officeDocument/2006/relationships/tags" Target="../tags/tag90.xml"/><Relationship Id="rId7" Type="http://schemas.openxmlformats.org/officeDocument/2006/relationships/image" Target="../media/image6.emf"/><Relationship Id="rId2" Type="http://schemas.openxmlformats.org/officeDocument/2006/relationships/tags" Target="../tags/tag89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6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91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93.xml"/><Relationship Id="rId7" Type="http://schemas.openxmlformats.org/officeDocument/2006/relationships/oleObject" Target="../embeddings/oleObject63.bin"/><Relationship Id="rId2" Type="http://schemas.openxmlformats.org/officeDocument/2006/relationships/tags" Target="../tags/tag92.xml"/><Relationship Id="rId1" Type="http://schemas.openxmlformats.org/officeDocument/2006/relationships/vmlDrawing" Target="../drawings/vmlDrawing37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95.xml"/><Relationship Id="rId4" Type="http://schemas.openxmlformats.org/officeDocument/2006/relationships/tags" Target="../tags/tag94.xml"/><Relationship Id="rId9" Type="http://schemas.openxmlformats.org/officeDocument/2006/relationships/oleObject" Target="../embeddings/oleObject64.bin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97.xml"/><Relationship Id="rId7" Type="http://schemas.openxmlformats.org/officeDocument/2006/relationships/oleObject" Target="../embeddings/oleObject65.bin"/><Relationship Id="rId2" Type="http://schemas.openxmlformats.org/officeDocument/2006/relationships/tags" Target="../tags/tag96.xml"/><Relationship Id="rId1" Type="http://schemas.openxmlformats.org/officeDocument/2006/relationships/vmlDrawing" Target="../drawings/vmlDrawing38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99.xml"/><Relationship Id="rId4" Type="http://schemas.openxmlformats.org/officeDocument/2006/relationships/tags" Target="../tags/tag98.xml"/><Relationship Id="rId9" Type="http://schemas.openxmlformats.org/officeDocument/2006/relationships/oleObject" Target="../embeddings/oleObject66.bin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01.xml"/><Relationship Id="rId7" Type="http://schemas.openxmlformats.org/officeDocument/2006/relationships/oleObject" Target="../embeddings/oleObject67.bin"/><Relationship Id="rId2" Type="http://schemas.openxmlformats.org/officeDocument/2006/relationships/tags" Target="../tags/tag100.xml"/><Relationship Id="rId1" Type="http://schemas.openxmlformats.org/officeDocument/2006/relationships/vmlDrawing" Target="../drawings/vmlDrawing39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03.xml"/><Relationship Id="rId4" Type="http://schemas.openxmlformats.org/officeDocument/2006/relationships/tags" Target="../tags/tag102.xml"/><Relationship Id="rId9" Type="http://schemas.openxmlformats.org/officeDocument/2006/relationships/oleObject" Target="../embeddings/oleObject68.bin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05.xml"/><Relationship Id="rId7" Type="http://schemas.openxmlformats.org/officeDocument/2006/relationships/oleObject" Target="../embeddings/oleObject69.bin"/><Relationship Id="rId2" Type="http://schemas.openxmlformats.org/officeDocument/2006/relationships/tags" Target="../tags/tag104.xml"/><Relationship Id="rId1" Type="http://schemas.openxmlformats.org/officeDocument/2006/relationships/vmlDrawing" Target="../drawings/vmlDrawing40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07.xml"/><Relationship Id="rId4" Type="http://schemas.openxmlformats.org/officeDocument/2006/relationships/tags" Target="../tags/tag106.xml"/><Relationship Id="rId9" Type="http://schemas.openxmlformats.org/officeDocument/2006/relationships/oleObject" Target="../embeddings/oleObject70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oleObject" Target="../embeddings/oleObject72.bin"/><Relationship Id="rId2" Type="http://schemas.openxmlformats.org/officeDocument/2006/relationships/tags" Target="../tags/tag108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7" Type="http://schemas.openxmlformats.org/officeDocument/2006/relationships/oleObject" Target="../embeddings/oleObject74.bin"/><Relationship Id="rId2" Type="http://schemas.openxmlformats.org/officeDocument/2006/relationships/tags" Target="../tags/tag110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6.bin"/><Relationship Id="rId3" Type="http://schemas.openxmlformats.org/officeDocument/2006/relationships/tags" Target="../tags/tag113.xml"/><Relationship Id="rId7" Type="http://schemas.openxmlformats.org/officeDocument/2006/relationships/image" Target="../media/image6.emf"/><Relationship Id="rId2" Type="http://schemas.openxmlformats.org/officeDocument/2006/relationships/tags" Target="../tags/tag112.xml"/><Relationship Id="rId1" Type="http://schemas.openxmlformats.org/officeDocument/2006/relationships/vmlDrawing" Target="../drawings/vmlDrawing43.vml"/><Relationship Id="rId6" Type="http://schemas.openxmlformats.org/officeDocument/2006/relationships/oleObject" Target="../embeddings/oleObject7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14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8.bin"/><Relationship Id="rId3" Type="http://schemas.openxmlformats.org/officeDocument/2006/relationships/tags" Target="../tags/tag116.xml"/><Relationship Id="rId7" Type="http://schemas.openxmlformats.org/officeDocument/2006/relationships/image" Target="../media/image6.emf"/><Relationship Id="rId2" Type="http://schemas.openxmlformats.org/officeDocument/2006/relationships/tags" Target="../tags/tag115.xml"/><Relationship Id="rId1" Type="http://schemas.openxmlformats.org/officeDocument/2006/relationships/vmlDrawing" Target="../drawings/vmlDrawing44.vml"/><Relationship Id="rId6" Type="http://schemas.openxmlformats.org/officeDocument/2006/relationships/oleObject" Target="../embeddings/oleObject77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17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7.jpeg"/><Relationship Id="rId4" Type="http://schemas.openxmlformats.org/officeDocument/2006/relationships/oleObject" Target="../embeddings/oleObject79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7" Type="http://schemas.openxmlformats.org/officeDocument/2006/relationships/oleObject" Target="../embeddings/oleObject81.bin"/><Relationship Id="rId2" Type="http://schemas.openxmlformats.org/officeDocument/2006/relationships/tags" Target="../tags/tag119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80.bin"/><Relationship Id="rId4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22.xml"/><Relationship Id="rId7" Type="http://schemas.openxmlformats.org/officeDocument/2006/relationships/oleObject" Target="../embeddings/oleObject82.bin"/><Relationship Id="rId2" Type="http://schemas.openxmlformats.org/officeDocument/2006/relationships/tags" Target="../tags/tag121.xml"/><Relationship Id="rId1" Type="http://schemas.openxmlformats.org/officeDocument/2006/relationships/vmlDrawing" Target="../drawings/vmlDrawing47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24.xml"/><Relationship Id="rId4" Type="http://schemas.openxmlformats.org/officeDocument/2006/relationships/tags" Target="../tags/tag123.xml"/><Relationship Id="rId9" Type="http://schemas.openxmlformats.org/officeDocument/2006/relationships/oleObject" Target="../embeddings/oleObject83.bin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26.xml"/><Relationship Id="rId7" Type="http://schemas.openxmlformats.org/officeDocument/2006/relationships/oleObject" Target="../embeddings/oleObject84.bin"/><Relationship Id="rId2" Type="http://schemas.openxmlformats.org/officeDocument/2006/relationships/tags" Target="../tags/tag125.xml"/><Relationship Id="rId1" Type="http://schemas.openxmlformats.org/officeDocument/2006/relationships/vmlDrawing" Target="../drawings/vmlDrawing48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28.xml"/><Relationship Id="rId4" Type="http://schemas.openxmlformats.org/officeDocument/2006/relationships/tags" Target="../tags/tag127.xml"/><Relationship Id="rId9" Type="http://schemas.openxmlformats.org/officeDocument/2006/relationships/oleObject" Target="../embeddings/oleObject85.bin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7.jpeg"/><Relationship Id="rId4" Type="http://schemas.openxmlformats.org/officeDocument/2006/relationships/oleObject" Target="../embeddings/oleObject86.bin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31.xml"/><Relationship Id="rId7" Type="http://schemas.openxmlformats.org/officeDocument/2006/relationships/oleObject" Target="../embeddings/oleObject87.bin"/><Relationship Id="rId2" Type="http://schemas.openxmlformats.org/officeDocument/2006/relationships/tags" Target="../tags/tag130.xml"/><Relationship Id="rId1" Type="http://schemas.openxmlformats.org/officeDocument/2006/relationships/vmlDrawing" Target="../drawings/vmlDrawing50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33.xml"/><Relationship Id="rId4" Type="http://schemas.openxmlformats.org/officeDocument/2006/relationships/tags" Target="../tags/tag132.xml"/><Relationship Id="rId9" Type="http://schemas.openxmlformats.org/officeDocument/2006/relationships/oleObject" Target="../embeddings/oleObject88.bin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35.xml"/><Relationship Id="rId7" Type="http://schemas.openxmlformats.org/officeDocument/2006/relationships/oleObject" Target="../embeddings/oleObject89.bin"/><Relationship Id="rId2" Type="http://schemas.openxmlformats.org/officeDocument/2006/relationships/tags" Target="../tags/tag134.xml"/><Relationship Id="rId1" Type="http://schemas.openxmlformats.org/officeDocument/2006/relationships/vmlDrawing" Target="../drawings/vmlDrawing51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37.xml"/><Relationship Id="rId4" Type="http://schemas.openxmlformats.org/officeDocument/2006/relationships/tags" Target="../tags/tag136.xml"/><Relationship Id="rId9" Type="http://schemas.openxmlformats.org/officeDocument/2006/relationships/oleObject" Target="../embeddings/oleObject90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7" Type="http://schemas.openxmlformats.org/officeDocument/2006/relationships/oleObject" Target="../embeddings/oleObject92.bin"/><Relationship Id="rId2" Type="http://schemas.openxmlformats.org/officeDocument/2006/relationships/tags" Target="../tags/tag138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1.bin"/><Relationship Id="rId4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8.jpeg"/><Relationship Id="rId4" Type="http://schemas.openxmlformats.org/officeDocument/2006/relationships/oleObject" Target="../embeddings/oleObject9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42.xml"/><Relationship Id="rId7" Type="http://schemas.openxmlformats.org/officeDocument/2006/relationships/oleObject" Target="../embeddings/oleObject94.bin"/><Relationship Id="rId2" Type="http://schemas.openxmlformats.org/officeDocument/2006/relationships/tags" Target="../tags/tag141.xml"/><Relationship Id="rId1" Type="http://schemas.openxmlformats.org/officeDocument/2006/relationships/vmlDrawing" Target="../drawings/vmlDrawing54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44.xml"/><Relationship Id="rId4" Type="http://schemas.openxmlformats.org/officeDocument/2006/relationships/tags" Target="../tags/tag143.xml"/><Relationship Id="rId9" Type="http://schemas.openxmlformats.org/officeDocument/2006/relationships/oleObject" Target="../embeddings/oleObject95.bin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46.xml"/><Relationship Id="rId7" Type="http://schemas.openxmlformats.org/officeDocument/2006/relationships/oleObject" Target="../embeddings/oleObject96.bin"/><Relationship Id="rId2" Type="http://schemas.openxmlformats.org/officeDocument/2006/relationships/tags" Target="../tags/tag145.xml"/><Relationship Id="rId1" Type="http://schemas.openxmlformats.org/officeDocument/2006/relationships/vmlDrawing" Target="../drawings/vmlDrawing55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48.xml"/><Relationship Id="rId4" Type="http://schemas.openxmlformats.org/officeDocument/2006/relationships/tags" Target="../tags/tag147.xml"/><Relationship Id="rId9" Type="http://schemas.openxmlformats.org/officeDocument/2006/relationships/oleObject" Target="../embeddings/oleObject97.bin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7.jpeg"/><Relationship Id="rId4" Type="http://schemas.openxmlformats.org/officeDocument/2006/relationships/oleObject" Target="../embeddings/oleObject98.bin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51.xml"/><Relationship Id="rId7" Type="http://schemas.openxmlformats.org/officeDocument/2006/relationships/oleObject" Target="../embeddings/oleObject99.bin"/><Relationship Id="rId2" Type="http://schemas.openxmlformats.org/officeDocument/2006/relationships/tags" Target="../tags/tag150.xml"/><Relationship Id="rId1" Type="http://schemas.openxmlformats.org/officeDocument/2006/relationships/vmlDrawing" Target="../drawings/vmlDrawing57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53.xml"/><Relationship Id="rId4" Type="http://schemas.openxmlformats.org/officeDocument/2006/relationships/tags" Target="../tags/tag152.xml"/><Relationship Id="rId9" Type="http://schemas.openxmlformats.org/officeDocument/2006/relationships/oleObject" Target="../embeddings/oleObject100.bin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55.xml"/><Relationship Id="rId7" Type="http://schemas.openxmlformats.org/officeDocument/2006/relationships/oleObject" Target="../embeddings/oleObject101.bin"/><Relationship Id="rId2" Type="http://schemas.openxmlformats.org/officeDocument/2006/relationships/tags" Target="../tags/tag154.xml"/><Relationship Id="rId1" Type="http://schemas.openxmlformats.org/officeDocument/2006/relationships/vmlDrawing" Target="../drawings/vmlDrawing58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57.xml"/><Relationship Id="rId4" Type="http://schemas.openxmlformats.org/officeDocument/2006/relationships/tags" Target="../tags/tag156.xml"/><Relationship Id="rId9" Type="http://schemas.openxmlformats.org/officeDocument/2006/relationships/oleObject" Target="../embeddings/oleObject102.bin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0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4.bin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5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6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7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8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70.xml"/><Relationship Id="rId7" Type="http://schemas.openxmlformats.org/officeDocument/2006/relationships/oleObject" Target="../embeddings/oleObject105.bin"/><Relationship Id="rId2" Type="http://schemas.openxmlformats.org/officeDocument/2006/relationships/tags" Target="../tags/tag169.xml"/><Relationship Id="rId1" Type="http://schemas.openxmlformats.org/officeDocument/2006/relationships/vmlDrawing" Target="../drawings/vmlDrawing61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72.xml"/><Relationship Id="rId4" Type="http://schemas.openxmlformats.org/officeDocument/2006/relationships/tags" Target="../tags/tag171.xml"/><Relationship Id="rId9" Type="http://schemas.openxmlformats.org/officeDocument/2006/relationships/oleObject" Target="../embeddings/oleObject106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7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08.bin"/><Relationship Id="rId4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pertina + Imm GIA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12"/>
          <p:cNvSpPr/>
          <p:nvPr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/>
          </a:p>
        </p:txBody>
      </p:sp>
      <p:sp>
        <p:nvSpPr>
          <p:cNvPr id="29" name="Rettangolo 28"/>
          <p:cNvSpPr/>
          <p:nvPr/>
        </p:nvSpPr>
        <p:spPr>
          <a:xfrm>
            <a:off x="4877991" y="4105202"/>
            <a:ext cx="4000500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schemeClr val="tx1"/>
              </a:solidFill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ctrTitle" hasCustomPrompt="1"/>
          </p:nvPr>
        </p:nvSpPr>
        <p:spPr>
          <a:xfrm>
            <a:off x="4878221" y="836613"/>
            <a:ext cx="4000500" cy="23876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it-IT" dirty="0"/>
              <a:t>TITOLO SEZIONE</a:t>
            </a:r>
          </a:p>
        </p:txBody>
      </p:sp>
      <p:sp>
        <p:nvSpPr>
          <p:cNvPr id="25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4878221" y="3582918"/>
            <a:ext cx="4000500" cy="646331"/>
          </a:xfrm>
          <a:prstGeom prst="rect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marL="0" indent="0" algn="l">
              <a:buNone/>
              <a:defRPr sz="1800" b="1" cap="all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 dirty="0"/>
              <a:t>SOTTOTITOLO</a:t>
            </a:r>
          </a:p>
        </p:txBody>
      </p:sp>
      <p:cxnSp>
        <p:nvCxnSpPr>
          <p:cNvPr id="26" name="Connettore diritto 25"/>
          <p:cNvCxnSpPr/>
          <p:nvPr/>
        </p:nvCxnSpPr>
        <p:spPr>
          <a:xfrm flipV="1">
            <a:off x="4586098" y="3351192"/>
            <a:ext cx="4000500" cy="14381"/>
          </a:xfrm>
          <a:prstGeom prst="line">
            <a:avLst/>
          </a:prstGeom>
          <a:ln w="2540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ttore diritto 26"/>
          <p:cNvCxnSpPr/>
          <p:nvPr/>
        </p:nvCxnSpPr>
        <p:spPr>
          <a:xfrm>
            <a:off x="4878221" y="5661025"/>
            <a:ext cx="4000500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Segnaposto testo 23"/>
          <p:cNvSpPr>
            <a:spLocks noGrp="1"/>
          </p:cNvSpPr>
          <p:nvPr>
            <p:ph type="body" sz="quarter" idx="13" hasCustomPrompt="1"/>
          </p:nvPr>
        </p:nvSpPr>
        <p:spPr>
          <a:xfrm>
            <a:off x="4877991" y="4321251"/>
            <a:ext cx="4000500" cy="72548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350" dirty="0" smtClean="0">
                <a:solidFill>
                  <a:schemeClr val="tx1"/>
                </a:solidFill>
              </a:defRPr>
            </a:lvl1pPr>
          </a:lstStyle>
          <a:p>
            <a:pPr marL="171450" lvl="0" indent="-171450"/>
            <a:r>
              <a:rPr lang="it-IT" dirty="0"/>
              <a:t>NOTE</a:t>
            </a:r>
          </a:p>
        </p:txBody>
      </p:sp>
      <p:sp>
        <p:nvSpPr>
          <p:cNvPr id="31" name="Segnaposto immagine 30"/>
          <p:cNvSpPr>
            <a:spLocks noGrp="1"/>
          </p:cNvSpPr>
          <p:nvPr>
            <p:ph type="pic" sz="quarter" idx="14"/>
          </p:nvPr>
        </p:nvSpPr>
        <p:spPr>
          <a:xfrm>
            <a:off x="-230" y="0"/>
            <a:ext cx="4572000" cy="6858000"/>
          </a:xfrm>
          <a:prstGeom prst="rect">
            <a:avLst/>
          </a:prstGeo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700"/>
            </a:lvl1pPr>
          </a:lstStyle>
          <a:p>
            <a:r>
              <a:rPr lang="it-IT"/>
              <a:t>Fare clic sull'icona per inserire un'immagine</a:t>
            </a:r>
          </a:p>
        </p:txBody>
      </p:sp>
      <p:sp>
        <p:nvSpPr>
          <p:cNvPr id="15" name="Rettangolo 14"/>
          <p:cNvSpPr/>
          <p:nvPr/>
        </p:nvSpPr>
        <p:spPr>
          <a:xfrm>
            <a:off x="5993457" y="6498212"/>
            <a:ext cx="2593142" cy="35979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pic>
        <p:nvPicPr>
          <p:cNvPr id="17" name="Immagine 16" descr="PI_logo_o_RGB_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0465" y="6498212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19" name="Rettangolo 18"/>
          <p:cNvSpPr/>
          <p:nvPr/>
        </p:nvSpPr>
        <p:spPr>
          <a:xfrm>
            <a:off x="8586598" y="5433348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20" name="Rettangolo 19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14" name="Rettangolo 13"/>
          <p:cNvSpPr/>
          <p:nvPr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/>
          </a:p>
        </p:txBody>
      </p:sp>
      <p:sp>
        <p:nvSpPr>
          <p:cNvPr id="16" name="Rettangolo 15"/>
          <p:cNvSpPr/>
          <p:nvPr/>
        </p:nvSpPr>
        <p:spPr>
          <a:xfrm>
            <a:off x="4877991" y="4105202"/>
            <a:ext cx="4000500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schemeClr val="tx1"/>
              </a:solidFill>
            </a:endParaRPr>
          </a:p>
        </p:txBody>
      </p:sp>
      <p:cxnSp>
        <p:nvCxnSpPr>
          <p:cNvPr id="18" name="Connettore diritto 17"/>
          <p:cNvCxnSpPr/>
          <p:nvPr/>
        </p:nvCxnSpPr>
        <p:spPr>
          <a:xfrm flipV="1">
            <a:off x="4586098" y="3351192"/>
            <a:ext cx="4000500" cy="14381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ttore diritto 20"/>
          <p:cNvCxnSpPr/>
          <p:nvPr/>
        </p:nvCxnSpPr>
        <p:spPr>
          <a:xfrm>
            <a:off x="4878221" y="5661025"/>
            <a:ext cx="4000500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ttangolo 21"/>
          <p:cNvSpPr/>
          <p:nvPr/>
        </p:nvSpPr>
        <p:spPr>
          <a:xfrm>
            <a:off x="5993457" y="6498212"/>
            <a:ext cx="2593142" cy="35979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pic>
        <p:nvPicPr>
          <p:cNvPr id="23" name="Immagine 22" descr="PI_logo_o_RGB_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0465" y="6498212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24" name="Rettangolo 23"/>
          <p:cNvSpPr/>
          <p:nvPr/>
        </p:nvSpPr>
        <p:spPr>
          <a:xfrm>
            <a:off x="8586598" y="5433348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30" name="Rettangolo 29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5" hasCustomPrompt="1"/>
          </p:nvPr>
        </p:nvSpPr>
        <p:spPr>
          <a:xfrm>
            <a:off x="5993608" y="6497638"/>
            <a:ext cx="2593181" cy="360362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>
              <a:buNone/>
              <a:defRPr sz="675"/>
            </a:lvl1pPr>
            <a:lvl2pPr marL="342900" indent="0">
              <a:buNone/>
              <a:defRPr sz="600"/>
            </a:lvl2pPr>
            <a:lvl3pPr marL="685800" indent="0">
              <a:buNone/>
              <a:defRPr sz="525"/>
            </a:lvl3pPr>
            <a:lvl4pPr marL="1028700" indent="0">
              <a:buNone/>
              <a:defRPr sz="450"/>
            </a:lvl4pPr>
            <a:lvl5pPr marL="1371600" indent="0">
              <a:buNone/>
              <a:defRPr sz="450"/>
            </a:lvl5pPr>
          </a:lstStyle>
          <a:p>
            <a:pPr lvl="0"/>
            <a:r>
              <a:rPr lang="it-IT" dirty="0"/>
              <a:t>Struttura 1° livello - Struttura 2° livello - Struttura 3° livello </a:t>
            </a:r>
          </a:p>
        </p:txBody>
      </p:sp>
      <p:sp>
        <p:nvSpPr>
          <p:cNvPr id="32" name="Rettangolo 31"/>
          <p:cNvSpPr/>
          <p:nvPr userDrawn="1"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/>
          </a:p>
        </p:txBody>
      </p:sp>
      <p:sp>
        <p:nvSpPr>
          <p:cNvPr id="33" name="Rettangolo 32"/>
          <p:cNvSpPr/>
          <p:nvPr userDrawn="1"/>
        </p:nvSpPr>
        <p:spPr>
          <a:xfrm>
            <a:off x="4877991" y="4105202"/>
            <a:ext cx="4000500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schemeClr val="tx1"/>
              </a:solidFill>
            </a:endParaRPr>
          </a:p>
        </p:txBody>
      </p:sp>
      <p:cxnSp>
        <p:nvCxnSpPr>
          <p:cNvPr id="34" name="Connettore diritto 33"/>
          <p:cNvCxnSpPr/>
          <p:nvPr userDrawn="1"/>
        </p:nvCxnSpPr>
        <p:spPr>
          <a:xfrm flipV="1">
            <a:off x="4586098" y="3351192"/>
            <a:ext cx="4000500" cy="14381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ttore diritto 34"/>
          <p:cNvCxnSpPr/>
          <p:nvPr userDrawn="1"/>
        </p:nvCxnSpPr>
        <p:spPr>
          <a:xfrm>
            <a:off x="4878221" y="5661025"/>
            <a:ext cx="4000500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Immagine 36" descr="PI_logo_o_RGB_p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0465" y="6498212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38" name="Rettangolo 37"/>
          <p:cNvSpPr/>
          <p:nvPr userDrawn="1"/>
        </p:nvSpPr>
        <p:spPr>
          <a:xfrm>
            <a:off x="8586598" y="5433348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39" name="Rettangolo 38"/>
          <p:cNvSpPr/>
          <p:nvPr userDrawn="1"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</p:spTree>
    <p:extLst>
      <p:ext uri="{BB962C8B-B14F-4D97-AF65-F5344CB8AC3E}">
        <p14:creationId xmlns:p14="http://schemas.microsoft.com/office/powerpoint/2010/main" val="166738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8658416" y="6498211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10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4, </a:t>
            </a:r>
            <a:r>
              <a:rPr lang="it-IT" dirty="0" err="1"/>
              <a:t>bold</a:t>
            </a:r>
            <a:r>
              <a:rPr lang="it-IT" dirty="0"/>
              <a:t>, maiuscolo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1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8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35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</p:spTree>
    <p:extLst>
      <p:ext uri="{BB962C8B-B14F-4D97-AF65-F5344CB8AC3E}">
        <p14:creationId xmlns:p14="http://schemas.microsoft.com/office/powerpoint/2010/main" val="2104467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/>
        </p:nvSpPr>
        <p:spPr>
          <a:xfrm>
            <a:off x="1" y="628650"/>
            <a:ext cx="9144000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>
          <a:xfrm>
            <a:off x="8658416" y="6498211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4" name="Rettangolo 3"/>
          <p:cNvSpPr/>
          <p:nvPr/>
        </p:nvSpPr>
        <p:spPr>
          <a:xfrm>
            <a:off x="1" y="628650"/>
            <a:ext cx="9144000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5" name="Rettangolo 4"/>
          <p:cNvSpPr/>
          <p:nvPr userDrawn="1"/>
        </p:nvSpPr>
        <p:spPr>
          <a:xfrm>
            <a:off x="1" y="628650"/>
            <a:ext cx="9144000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</p:spTree>
    <p:extLst>
      <p:ext uri="{BB962C8B-B14F-4D97-AF65-F5344CB8AC3E}">
        <p14:creationId xmlns:p14="http://schemas.microsoft.com/office/powerpoint/2010/main" val="1288948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I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/>
        </p:nvSpPr>
        <p:spPr>
          <a:xfrm>
            <a:off x="1" y="628650"/>
            <a:ext cx="7250906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>
          <a:xfrm>
            <a:off x="8658416" y="6498211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4" name="Rettangolo 3"/>
          <p:cNvSpPr/>
          <p:nvPr/>
        </p:nvSpPr>
        <p:spPr>
          <a:xfrm>
            <a:off x="2" y="0"/>
            <a:ext cx="9143999" cy="6858000"/>
          </a:xfrm>
          <a:prstGeom prst="rect">
            <a:avLst/>
          </a:prstGeom>
          <a:solidFill>
            <a:srgbClr val="EEDC1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/>
          </a:p>
        </p:txBody>
      </p:sp>
      <p:pic>
        <p:nvPicPr>
          <p:cNvPr id="5" name="Immagine 4" descr="pi_rgb_nobkgd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7051" y="2854719"/>
            <a:ext cx="3009899" cy="810177"/>
          </a:xfrm>
          <a:prstGeom prst="rect">
            <a:avLst/>
          </a:prstGeom>
        </p:spPr>
      </p:pic>
      <p:pic>
        <p:nvPicPr>
          <p:cNvPr id="6" name="Immagine 5" descr="social_poste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087" y="3858047"/>
            <a:ext cx="1557827" cy="238646"/>
          </a:xfrm>
          <a:prstGeom prst="rect">
            <a:avLst/>
          </a:prstGeom>
        </p:spPr>
      </p:pic>
      <p:sp>
        <p:nvSpPr>
          <p:cNvPr id="8" name="Segnaposto testo 7"/>
          <p:cNvSpPr>
            <a:spLocks noGrp="1"/>
          </p:cNvSpPr>
          <p:nvPr>
            <p:ph type="body" sz="quarter" idx="11" hasCustomPrompt="1"/>
          </p:nvPr>
        </p:nvSpPr>
        <p:spPr>
          <a:xfrm>
            <a:off x="1762126" y="5588003"/>
            <a:ext cx="5619751" cy="525463"/>
          </a:xfr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100" baseline="0"/>
            </a:lvl1pPr>
          </a:lstStyle>
          <a:p>
            <a:pPr lvl="0"/>
            <a:r>
              <a:rPr lang="it-IT" dirty="0"/>
              <a:t>Rispetta l’ambiente: NON MI STAMPARE </a:t>
            </a:r>
          </a:p>
        </p:txBody>
      </p:sp>
      <p:sp>
        <p:nvSpPr>
          <p:cNvPr id="9" name="Rettangolo 8"/>
          <p:cNvSpPr/>
          <p:nvPr/>
        </p:nvSpPr>
        <p:spPr>
          <a:xfrm>
            <a:off x="1" y="628650"/>
            <a:ext cx="7250906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10" name="Rettangolo 9"/>
          <p:cNvSpPr/>
          <p:nvPr/>
        </p:nvSpPr>
        <p:spPr>
          <a:xfrm>
            <a:off x="2" y="0"/>
            <a:ext cx="9143999" cy="6858000"/>
          </a:xfrm>
          <a:prstGeom prst="rect">
            <a:avLst/>
          </a:prstGeom>
          <a:solidFill>
            <a:srgbClr val="EEDC1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/>
          </a:p>
        </p:txBody>
      </p:sp>
      <p:pic>
        <p:nvPicPr>
          <p:cNvPr id="11" name="Immagine 10" descr="pi_rgb_nobkgd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7051" y="2854719"/>
            <a:ext cx="3009899" cy="810177"/>
          </a:xfrm>
          <a:prstGeom prst="rect">
            <a:avLst/>
          </a:prstGeom>
        </p:spPr>
      </p:pic>
      <p:pic>
        <p:nvPicPr>
          <p:cNvPr id="12" name="Immagine 11" descr="social_poste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087" y="3858047"/>
            <a:ext cx="1557827" cy="238646"/>
          </a:xfrm>
          <a:prstGeom prst="rect">
            <a:avLst/>
          </a:prstGeom>
        </p:spPr>
      </p:pic>
      <p:sp>
        <p:nvSpPr>
          <p:cNvPr id="13" name="Rettangolo 12"/>
          <p:cNvSpPr/>
          <p:nvPr userDrawn="1"/>
        </p:nvSpPr>
        <p:spPr>
          <a:xfrm>
            <a:off x="1" y="628650"/>
            <a:ext cx="7250906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14" name="Rettangolo 13"/>
          <p:cNvSpPr/>
          <p:nvPr userDrawn="1"/>
        </p:nvSpPr>
        <p:spPr>
          <a:xfrm>
            <a:off x="2" y="0"/>
            <a:ext cx="9143999" cy="6858000"/>
          </a:xfrm>
          <a:prstGeom prst="rect">
            <a:avLst/>
          </a:prstGeom>
          <a:solidFill>
            <a:srgbClr val="EEDC1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/>
          </a:p>
        </p:txBody>
      </p:sp>
      <p:pic>
        <p:nvPicPr>
          <p:cNvPr id="15" name="Immagine 14" descr="pi_rgb_nobkgd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7051" y="2854719"/>
            <a:ext cx="3009899" cy="810177"/>
          </a:xfrm>
          <a:prstGeom prst="rect">
            <a:avLst/>
          </a:prstGeom>
        </p:spPr>
      </p:pic>
      <p:pic>
        <p:nvPicPr>
          <p:cNvPr id="16" name="Immagine 15" descr="social_poste.eps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087" y="3858047"/>
            <a:ext cx="1557827" cy="238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259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AutoShape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4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7" name="Diapositiva think-cell" r:id="rId4" imgW="0" imgH="0" progId="TCLayout.ActiveDocument.1">
                  <p:embed/>
                </p:oleObj>
              </mc:Choice>
              <mc:Fallback>
                <p:oleObj name="Diapositiva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4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11"/>
          <p:cNvGrpSpPr>
            <a:grpSpLocks/>
          </p:cNvGrpSpPr>
          <p:nvPr/>
        </p:nvGrpSpPr>
        <p:grpSpPr bwMode="auto">
          <a:xfrm>
            <a:off x="4" y="6"/>
            <a:ext cx="3578225" cy="630239"/>
            <a:chOff x="0" y="-1"/>
            <a:chExt cx="3876673" cy="630746"/>
          </a:xfrm>
        </p:grpSpPr>
        <p:sp>
          <p:nvSpPr>
            <p:cNvPr id="7" name="Freeform 6"/>
            <p:cNvSpPr>
              <a:spLocks noChangeAspect="1"/>
            </p:cNvSpPr>
            <p:nvPr userDrawn="1"/>
          </p:nvSpPr>
          <p:spPr bwMode="auto">
            <a:xfrm rot="10800000">
              <a:off x="772239" y="-1"/>
              <a:ext cx="3104434" cy="630746"/>
            </a:xfrm>
            <a:custGeom>
              <a:avLst/>
              <a:gdLst/>
              <a:ahLst/>
              <a:cxnLst>
                <a:cxn ang="0">
                  <a:pos x="1196" y="0"/>
                </a:cxn>
                <a:cxn ang="0">
                  <a:pos x="236" y="0"/>
                </a:cxn>
                <a:cxn ang="0">
                  <a:pos x="0" y="212"/>
                </a:cxn>
                <a:cxn ang="0">
                  <a:pos x="1196" y="212"/>
                </a:cxn>
                <a:cxn ang="0">
                  <a:pos x="1196" y="0"/>
                </a:cxn>
              </a:cxnLst>
              <a:rect l="0" t="0" r="r" b="b"/>
              <a:pathLst>
                <a:path w="1196" h="212">
                  <a:moveTo>
                    <a:pt x="1196" y="0"/>
                  </a:moveTo>
                  <a:cubicBezTo>
                    <a:pt x="236" y="0"/>
                    <a:pt x="236" y="0"/>
                    <a:pt x="236" y="0"/>
                  </a:cubicBezTo>
                  <a:cubicBezTo>
                    <a:pt x="106" y="0"/>
                    <a:pt x="0" y="95"/>
                    <a:pt x="0" y="212"/>
                  </a:cubicBezTo>
                  <a:cubicBezTo>
                    <a:pt x="1196" y="212"/>
                    <a:pt x="1196" y="212"/>
                    <a:pt x="1196" y="212"/>
                  </a:cubicBezTo>
                  <a:lnTo>
                    <a:pt x="1196" y="0"/>
                  </a:lnTo>
                  <a:close/>
                </a:path>
              </a:pathLst>
            </a:custGeom>
            <a:solidFill>
              <a:srgbClr val="F4E6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000000"/>
                </a:solidFill>
              </a:endParaRPr>
            </a:p>
          </p:txBody>
        </p:sp>
        <p:sp>
          <p:nvSpPr>
            <p:cNvPr id="8" name="Freeform 6"/>
            <p:cNvSpPr>
              <a:spLocks noChangeAspect="1"/>
            </p:cNvSpPr>
            <p:nvPr userDrawn="1"/>
          </p:nvSpPr>
          <p:spPr bwMode="auto">
            <a:xfrm rot="10800000">
              <a:off x="0" y="-1"/>
              <a:ext cx="3104435" cy="630746"/>
            </a:xfrm>
            <a:custGeom>
              <a:avLst/>
              <a:gdLst/>
              <a:ahLst/>
              <a:cxnLst>
                <a:cxn ang="0">
                  <a:pos x="1196" y="0"/>
                </a:cxn>
                <a:cxn ang="0">
                  <a:pos x="236" y="0"/>
                </a:cxn>
                <a:cxn ang="0">
                  <a:pos x="0" y="212"/>
                </a:cxn>
                <a:cxn ang="0">
                  <a:pos x="1196" y="212"/>
                </a:cxn>
                <a:cxn ang="0">
                  <a:pos x="1196" y="0"/>
                </a:cxn>
              </a:cxnLst>
              <a:rect l="0" t="0" r="r" b="b"/>
              <a:pathLst>
                <a:path w="1196" h="212">
                  <a:moveTo>
                    <a:pt x="1196" y="0"/>
                  </a:moveTo>
                  <a:cubicBezTo>
                    <a:pt x="236" y="0"/>
                    <a:pt x="236" y="0"/>
                    <a:pt x="236" y="0"/>
                  </a:cubicBezTo>
                  <a:cubicBezTo>
                    <a:pt x="106" y="0"/>
                    <a:pt x="0" y="95"/>
                    <a:pt x="0" y="212"/>
                  </a:cubicBezTo>
                  <a:cubicBezTo>
                    <a:pt x="1196" y="212"/>
                    <a:pt x="1196" y="212"/>
                    <a:pt x="1196" y="212"/>
                  </a:cubicBezTo>
                  <a:lnTo>
                    <a:pt x="1196" y="0"/>
                  </a:lnTo>
                  <a:close/>
                </a:path>
              </a:pathLst>
            </a:custGeom>
            <a:solidFill>
              <a:srgbClr val="F4E6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000000"/>
                </a:solidFill>
              </a:endParaRPr>
            </a:p>
          </p:txBody>
        </p:sp>
      </p:grpSp>
      <p:grpSp>
        <p:nvGrpSpPr>
          <p:cNvPr id="9" name="Group 29"/>
          <p:cNvGrpSpPr/>
          <p:nvPr/>
        </p:nvGrpSpPr>
        <p:grpSpPr>
          <a:xfrm>
            <a:off x="302147" y="155582"/>
            <a:ext cx="2208793" cy="273051"/>
            <a:chOff x="4880233" y="981075"/>
            <a:chExt cx="1985052" cy="226515"/>
          </a:xfrm>
          <a:solidFill>
            <a:srgbClr val="FF0000"/>
          </a:solidFill>
        </p:grpSpPr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5643808" y="1045713"/>
              <a:ext cx="185718" cy="161877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/>
          </p:nvSpPr>
          <p:spPr bwMode="auto">
            <a:xfrm>
              <a:off x="4880233" y="983323"/>
              <a:ext cx="217990" cy="219770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5100659" y="1045713"/>
              <a:ext cx="200332" cy="161877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5313169" y="1045713"/>
              <a:ext cx="166842" cy="161877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/>
          </p:nvSpPr>
          <p:spPr bwMode="auto">
            <a:xfrm>
              <a:off x="5489754" y="1004682"/>
              <a:ext cx="137005" cy="202908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auto">
            <a:xfrm>
              <a:off x="5854492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/>
          </p:nvSpPr>
          <p:spPr bwMode="auto">
            <a:xfrm>
              <a:off x="5854492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/>
          </p:nvSpPr>
          <p:spPr bwMode="auto">
            <a:xfrm>
              <a:off x="5912947" y="1006931"/>
              <a:ext cx="102906" cy="198411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030467" y="1043465"/>
              <a:ext cx="149183" cy="161877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Rectangle 15"/>
            <p:cNvSpPr>
              <a:spLocks noChangeArrowheads="1"/>
            </p:cNvSpPr>
            <p:nvPr/>
          </p:nvSpPr>
          <p:spPr bwMode="auto">
            <a:xfrm>
              <a:off x="6211923" y="981075"/>
              <a:ext cx="31663" cy="219770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6"/>
            <p:cNvSpPr>
              <a:spLocks noEditPoints="1"/>
            </p:cNvSpPr>
            <p:nvPr/>
          </p:nvSpPr>
          <p:spPr bwMode="auto">
            <a:xfrm>
              <a:off x="6282557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auto">
            <a:xfrm>
              <a:off x="6282557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8"/>
            <p:cNvSpPr>
              <a:spLocks noEditPoints="1"/>
            </p:cNvSpPr>
            <p:nvPr/>
          </p:nvSpPr>
          <p:spPr bwMode="auto">
            <a:xfrm>
              <a:off x="6348928" y="1043465"/>
              <a:ext cx="146139" cy="161877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auto">
            <a:xfrm>
              <a:off x="6529775" y="1043465"/>
              <a:ext cx="151619" cy="157380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4" name="Freeform 20"/>
            <p:cNvSpPr>
              <a:spLocks noEditPoints="1"/>
            </p:cNvSpPr>
            <p:nvPr/>
          </p:nvSpPr>
          <p:spPr bwMode="auto">
            <a:xfrm>
              <a:off x="6705750" y="1043465"/>
              <a:ext cx="159535" cy="161877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pic>
        <p:nvPicPr>
          <p:cNvPr id="25" name="Picture 2" descr="Prima_footer-giallo-v42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6282" y="6180148"/>
            <a:ext cx="8467725" cy="677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Text Placeholder 48"/>
          <p:cNvSpPr>
            <a:spLocks noGrp="1"/>
          </p:cNvSpPr>
          <p:nvPr>
            <p:ph type="body" sz="quarter" idx="11"/>
          </p:nvPr>
        </p:nvSpPr>
        <p:spPr>
          <a:xfrm>
            <a:off x="250826" y="1700213"/>
            <a:ext cx="8569324" cy="2438400"/>
          </a:xfrm>
          <a:prstGeom prst="rect">
            <a:avLst/>
          </a:prstGeom>
        </p:spPr>
        <p:txBody>
          <a:bodyPr lIns="91429" tIns="45715" rIns="91429" bIns="45715"/>
          <a:lstStyle>
            <a:lvl1pPr algn="ctr">
              <a:defRPr sz="3000"/>
            </a:lvl1pPr>
          </a:lstStyle>
          <a:p>
            <a:pPr lvl="0"/>
            <a:r>
              <a:rPr lang="it-IT" noProof="0"/>
              <a:t>Fare clic per modificare stili del testo dello schema</a:t>
            </a:r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2"/>
          </p:nvPr>
        </p:nvSpPr>
        <p:spPr>
          <a:xfrm>
            <a:off x="1258987" y="3617951"/>
            <a:ext cx="6769100" cy="1755775"/>
          </a:xfrm>
          <a:prstGeom prst="rect">
            <a:avLst/>
          </a:prstGeom>
        </p:spPr>
        <p:txBody>
          <a:bodyPr lIns="91429" tIns="45715" rIns="91429" bIns="45715"/>
          <a:lstStyle>
            <a:lvl1pPr algn="ctr">
              <a:defRPr sz="1725" baseline="0"/>
            </a:lvl1pPr>
          </a:lstStyle>
          <a:p>
            <a:pPr lvl="0"/>
            <a:r>
              <a:rPr lang="it-IT" noProof="0"/>
              <a:t>Fare clic per modificare stili del testo dello schema</a:t>
            </a:r>
          </a:p>
        </p:txBody>
      </p:sp>
      <p:sp>
        <p:nvSpPr>
          <p:cNvPr id="53" name="Text Placeholder 52"/>
          <p:cNvSpPr>
            <a:spLocks noGrp="1"/>
          </p:cNvSpPr>
          <p:nvPr>
            <p:ph type="body" sz="quarter" idx="13"/>
          </p:nvPr>
        </p:nvSpPr>
        <p:spPr>
          <a:xfrm>
            <a:off x="4141268" y="6314523"/>
            <a:ext cx="5002823" cy="476251"/>
          </a:xfrm>
          <a:prstGeom prst="rect">
            <a:avLst/>
          </a:prstGeom>
        </p:spPr>
        <p:txBody>
          <a:bodyPr lIns="91429" tIns="45715" rIns="91429" bIns="45715"/>
          <a:lstStyle>
            <a:lvl1pPr algn="ctr">
              <a:defRPr i="1"/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45887726"/>
      </p:ext>
    </p:extLst>
  </p:cSld>
  <p:clrMapOvr>
    <a:masterClrMapping/>
  </p:clrMapOvr>
  <p:transition spd="slow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4" name="Diapositiva think-cell" r:id="rId5" imgW="360" imgH="360" progId="TCLayout.ActiveDocument.1">
                  <p:embed/>
                </p:oleObj>
              </mc:Choice>
              <mc:Fallback>
                <p:oleObj name="Diapositiva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F58984A2-E4CE-4B09-BD4E-9D49896D0289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grpSp>
        <p:nvGrpSpPr>
          <p:cNvPr id="8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4" name="Group 61"/>
          <p:cNvGrpSpPr>
            <a:grpSpLocks/>
          </p:cNvGrpSpPr>
          <p:nvPr/>
        </p:nvGrpSpPr>
        <p:grpSpPr bwMode="auto">
          <a:xfrm>
            <a:off x="0" y="971556"/>
            <a:ext cx="9144000" cy="41275"/>
            <a:chOff x="0" y="1187350"/>
            <a:chExt cx="9144000" cy="40942"/>
          </a:xfrm>
        </p:grpSpPr>
        <p:cxnSp>
          <p:nvCxnSpPr>
            <p:cNvPr id="25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7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5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43858579"/>
      </p:ext>
    </p:extLst>
  </p:cSld>
  <p:clrMapOvr>
    <a:masterClrMapping/>
  </p:clrMapOvr>
  <p:transition spd="slow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8" name="Diapositiva think-cell" r:id="rId5" imgW="360" imgH="360" progId="TCLayout.ActiveDocument.1">
                  <p:embed/>
                </p:oleObj>
              </mc:Choice>
              <mc:Fallback>
                <p:oleObj name="Diapositiva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D0558627-9C24-48B8-AE91-F8ABFC95D8D9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grpSp>
        <p:nvGrpSpPr>
          <p:cNvPr id="8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4" name="Group 61"/>
          <p:cNvGrpSpPr>
            <a:grpSpLocks/>
          </p:cNvGrpSpPr>
          <p:nvPr/>
        </p:nvGrpSpPr>
        <p:grpSpPr bwMode="auto">
          <a:xfrm>
            <a:off x="0" y="837083"/>
            <a:ext cx="9144000" cy="41275"/>
            <a:chOff x="0" y="1187350"/>
            <a:chExt cx="9144000" cy="40942"/>
          </a:xfrm>
        </p:grpSpPr>
        <p:cxnSp>
          <p:nvCxnSpPr>
            <p:cNvPr id="25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7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9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61678722"/>
      </p:ext>
    </p:extLst>
  </p:cSld>
  <p:clrMapOvr>
    <a:masterClrMapping/>
  </p:clrMapOvr>
  <p:transition spd="slow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2" name="Diapositiva think-cell" r:id="rId5" imgW="360" imgH="360" progId="TCLayout.ActiveDocument.1">
                  <p:embed/>
                </p:oleObj>
              </mc:Choice>
              <mc:Fallback>
                <p:oleObj name="Diapositiva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D0558627-9C24-48B8-AE91-F8ABFC95D8D9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grpSp>
        <p:nvGrpSpPr>
          <p:cNvPr id="8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4" name="Group 61"/>
          <p:cNvGrpSpPr>
            <a:grpSpLocks/>
          </p:cNvGrpSpPr>
          <p:nvPr/>
        </p:nvGrpSpPr>
        <p:grpSpPr bwMode="auto">
          <a:xfrm>
            <a:off x="0" y="662281"/>
            <a:ext cx="9144000" cy="41275"/>
            <a:chOff x="0" y="1187350"/>
            <a:chExt cx="9144000" cy="40942"/>
          </a:xfrm>
        </p:grpSpPr>
        <p:cxnSp>
          <p:nvCxnSpPr>
            <p:cNvPr id="25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7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3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53299269"/>
      </p:ext>
    </p:extLst>
  </p:cSld>
  <p:clrMapOvr>
    <a:masterClrMapping/>
  </p:clrMapOvr>
  <p:transition spd="slow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6" name="Diapositiva think-cell" r:id="rId6" imgW="360" imgH="360" progId="TCLayout.ActiveDocument.1">
                  <p:embed/>
                </p:oleObj>
              </mc:Choice>
              <mc:Fallback>
                <p:oleObj name="Diapositiva think-cell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C3DEBEC4-D8C0-454B-AF3C-9C845FCC62E9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grpSp>
        <p:nvGrpSpPr>
          <p:cNvPr id="8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4" name="Group 61"/>
          <p:cNvGrpSpPr>
            <a:grpSpLocks/>
          </p:cNvGrpSpPr>
          <p:nvPr/>
        </p:nvGrpSpPr>
        <p:grpSpPr bwMode="auto">
          <a:xfrm>
            <a:off x="0" y="971556"/>
            <a:ext cx="9144000" cy="41275"/>
            <a:chOff x="0" y="1187350"/>
            <a:chExt cx="9144000" cy="40942"/>
          </a:xfrm>
        </p:grpSpPr>
        <p:cxnSp>
          <p:nvCxnSpPr>
            <p:cNvPr id="25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7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7" name="Diapositiva think-cell" r:id="rId8" imgW="360" imgH="360" progId="TCLayout.ActiveDocument.1">
                  <p:embed/>
                </p:oleObj>
              </mc:Choice>
              <mc:Fallback>
                <p:oleObj name="Diapositiva think-cell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5400000">
            <a:off x="5949157" y="3320259"/>
            <a:ext cx="5662612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5400">
                <a:solidFill>
                  <a:srgbClr val="F2F2F2"/>
                </a:solidFill>
              </a:rPr>
              <a:t>RISERVATO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046" y="1509714"/>
            <a:ext cx="8274051" cy="4613275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988773219"/>
      </p:ext>
    </p:extLst>
  </p:cSld>
  <p:clrMapOvr>
    <a:masterClrMapping/>
  </p:clrMapOvr>
  <p:transition spd="slow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40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1443798D-C4CC-4F21-9BA3-B006BE1A994D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grpSp>
        <p:nvGrpSpPr>
          <p:cNvPr id="8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4" name="Group 61"/>
          <p:cNvGrpSpPr>
            <a:grpSpLocks/>
          </p:cNvGrpSpPr>
          <p:nvPr/>
        </p:nvGrpSpPr>
        <p:grpSpPr bwMode="auto">
          <a:xfrm>
            <a:off x="0" y="608027"/>
            <a:ext cx="9144000" cy="41275"/>
            <a:chOff x="0" y="1187350"/>
            <a:chExt cx="9144000" cy="40942"/>
          </a:xfrm>
        </p:grpSpPr>
        <p:cxnSp>
          <p:nvCxnSpPr>
            <p:cNvPr id="25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7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41" name="Diapositiva think-cell" r:id="rId9" imgW="360" imgH="360" progId="TCLayout.ActiveDocument.1">
                  <p:embed/>
                </p:oleObj>
              </mc:Choice>
              <mc:Fallback>
                <p:oleObj name="Diapositiva think-cell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19719294">
            <a:off x="1266825" y="3245282"/>
            <a:ext cx="6724651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5400">
                <a:solidFill>
                  <a:srgbClr val="F2F2F2"/>
                </a:solidFill>
              </a:rPr>
              <a:t>RISERVATO</a:t>
            </a:r>
          </a:p>
        </p:txBody>
      </p:sp>
      <p:sp>
        <p:nvSpPr>
          <p:cNvPr id="29" name="Rectangle 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150442" y="73026"/>
            <a:ext cx="227947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900">
                <a:solidFill>
                  <a:srgbClr val="C41300"/>
                </a:solidFill>
              </a:rPr>
              <a:t>FOR DISCUSSION ONLY-RIPRODUZIONE VIETATA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137" y="-250568"/>
            <a:ext cx="8273563" cy="831851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046" y="1509714"/>
            <a:ext cx="8274051" cy="4613275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056693514"/>
      </p:ext>
    </p:extLst>
  </p:cSld>
  <p:clrMapOvr>
    <a:masterClrMapping/>
  </p:clrMapOvr>
  <p:transition spd="slow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64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69E2C233-37C8-4952-AF4E-316734C5AB71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grpSp>
        <p:nvGrpSpPr>
          <p:cNvPr id="8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4" name="Group 61"/>
          <p:cNvGrpSpPr>
            <a:grpSpLocks/>
          </p:cNvGrpSpPr>
          <p:nvPr/>
        </p:nvGrpSpPr>
        <p:grpSpPr bwMode="auto">
          <a:xfrm>
            <a:off x="0" y="608027"/>
            <a:ext cx="9144000" cy="41275"/>
            <a:chOff x="0" y="1187350"/>
            <a:chExt cx="9144000" cy="40942"/>
          </a:xfrm>
        </p:grpSpPr>
        <p:cxnSp>
          <p:nvCxnSpPr>
            <p:cNvPr id="25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7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65" name="Diapositiva think-cell" r:id="rId9" imgW="360" imgH="360" progId="TCLayout.ActiveDocument.1">
                  <p:embed/>
                </p:oleObj>
              </mc:Choice>
              <mc:Fallback>
                <p:oleObj name="Diapositiva think-cell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16200000">
            <a:off x="-2447921" y="3081766"/>
            <a:ext cx="5695951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5400">
                <a:solidFill>
                  <a:srgbClr val="F2F2F2"/>
                </a:solidFill>
              </a:rPr>
              <a:t>RISERVATO</a:t>
            </a:r>
          </a:p>
        </p:txBody>
      </p:sp>
      <p:sp>
        <p:nvSpPr>
          <p:cNvPr id="29" name="Rectangle 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150442" y="73026"/>
            <a:ext cx="227947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900">
                <a:solidFill>
                  <a:srgbClr val="C41300"/>
                </a:solidFill>
              </a:rPr>
              <a:t>FOR DISCUSSION ONLY-RIPRODUZIONE VIETATA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137" y="-250568"/>
            <a:ext cx="8273563" cy="831851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046" y="1509714"/>
            <a:ext cx="8274051" cy="4613275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105652125"/>
      </p:ext>
    </p:extLst>
  </p:cSld>
  <p:clrMapOvr>
    <a:masterClrMapping/>
  </p:clrMapOvr>
  <p:transition spd="slow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pertina GIA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ttangolo 24"/>
          <p:cNvSpPr/>
          <p:nvPr/>
        </p:nvSpPr>
        <p:spPr>
          <a:xfrm>
            <a:off x="366733" y="3557228"/>
            <a:ext cx="7169663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chemeClr val="tx1"/>
              </a:solidFill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366733" y="810926"/>
            <a:ext cx="7169663" cy="2387600"/>
          </a:xfrm>
        </p:spPr>
        <p:txBody>
          <a:bodyPr anchor="b">
            <a:noAutofit/>
          </a:bodyPr>
          <a:lstStyle>
            <a:lvl1pPr algn="l"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66733" y="3557231"/>
            <a:ext cx="7169663" cy="64633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>
              <a:buNone/>
              <a:defRPr sz="1800" b="1" cap="all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 dirty="0"/>
              <a:t>sottotitolo</a:t>
            </a:r>
          </a:p>
        </p:txBody>
      </p:sp>
      <p:cxnSp>
        <p:nvCxnSpPr>
          <p:cNvPr id="17" name="Connettore diritto 16"/>
          <p:cNvCxnSpPr/>
          <p:nvPr/>
        </p:nvCxnSpPr>
        <p:spPr>
          <a:xfrm>
            <a:off x="366733" y="3465226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diritto 17"/>
          <p:cNvCxnSpPr/>
          <p:nvPr/>
        </p:nvCxnSpPr>
        <p:spPr>
          <a:xfrm>
            <a:off x="366733" y="5113051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egnaposto testo 23"/>
          <p:cNvSpPr>
            <a:spLocks noGrp="1"/>
          </p:cNvSpPr>
          <p:nvPr>
            <p:ph type="body" sz="quarter" idx="13" hasCustomPrompt="1"/>
          </p:nvPr>
        </p:nvSpPr>
        <p:spPr>
          <a:xfrm>
            <a:off x="366503" y="4295564"/>
            <a:ext cx="7169663" cy="72548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350" dirty="0" smtClean="0">
                <a:solidFill>
                  <a:schemeClr val="tx1"/>
                </a:solidFill>
              </a:defRPr>
            </a:lvl1pPr>
          </a:lstStyle>
          <a:p>
            <a:pPr marL="171450" lvl="0" indent="-171450"/>
            <a:r>
              <a:rPr lang="it-IT" dirty="0"/>
              <a:t>NOTE</a:t>
            </a:r>
          </a:p>
        </p:txBody>
      </p:sp>
      <p:cxnSp>
        <p:nvCxnSpPr>
          <p:cNvPr id="26" name="Connettore diritto 25"/>
          <p:cNvCxnSpPr/>
          <p:nvPr/>
        </p:nvCxnSpPr>
        <p:spPr>
          <a:xfrm>
            <a:off x="-1" y="3304055"/>
            <a:ext cx="8586599" cy="0"/>
          </a:xfrm>
          <a:prstGeom prst="line">
            <a:avLst/>
          </a:prstGeom>
          <a:ln w="50800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ttangolo 32"/>
          <p:cNvSpPr/>
          <p:nvPr/>
        </p:nvSpPr>
        <p:spPr>
          <a:xfrm>
            <a:off x="1967034" y="6498212"/>
            <a:ext cx="6619564" cy="35979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34" name="Rettangolo 33"/>
          <p:cNvSpPr/>
          <p:nvPr/>
        </p:nvSpPr>
        <p:spPr>
          <a:xfrm rot="10800000">
            <a:off x="-1" y="6498212"/>
            <a:ext cx="469843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pic>
        <p:nvPicPr>
          <p:cNvPr id="35" name="Immagine 34" descr="PI_logo_o_RGB_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2" y="6498212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37" name="Rettangolo 36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38" name="Rettangolo 37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cxnSp>
        <p:nvCxnSpPr>
          <p:cNvPr id="14" name="Connettore diritto 13"/>
          <p:cNvCxnSpPr/>
          <p:nvPr/>
        </p:nvCxnSpPr>
        <p:spPr>
          <a:xfrm>
            <a:off x="8658417" y="330405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ttangolo 14"/>
          <p:cNvSpPr/>
          <p:nvPr/>
        </p:nvSpPr>
        <p:spPr>
          <a:xfrm>
            <a:off x="366733" y="3557228"/>
            <a:ext cx="7169663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chemeClr val="tx1"/>
              </a:solidFill>
            </a:endParaRPr>
          </a:p>
        </p:txBody>
      </p:sp>
      <p:cxnSp>
        <p:nvCxnSpPr>
          <p:cNvPr id="16" name="Connettore diritto 15"/>
          <p:cNvCxnSpPr/>
          <p:nvPr/>
        </p:nvCxnSpPr>
        <p:spPr>
          <a:xfrm>
            <a:off x="366733" y="3465226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ttore diritto 18"/>
          <p:cNvCxnSpPr/>
          <p:nvPr/>
        </p:nvCxnSpPr>
        <p:spPr>
          <a:xfrm>
            <a:off x="366733" y="5113051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ttore diritto 19"/>
          <p:cNvCxnSpPr/>
          <p:nvPr/>
        </p:nvCxnSpPr>
        <p:spPr>
          <a:xfrm>
            <a:off x="-1" y="3304055"/>
            <a:ext cx="8586599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ttangolo 20"/>
          <p:cNvSpPr/>
          <p:nvPr/>
        </p:nvSpPr>
        <p:spPr>
          <a:xfrm>
            <a:off x="1967034" y="6498212"/>
            <a:ext cx="6619564" cy="3597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22" name="Rettangolo 21"/>
          <p:cNvSpPr/>
          <p:nvPr/>
        </p:nvSpPr>
        <p:spPr>
          <a:xfrm rot="10800000">
            <a:off x="-1" y="6498212"/>
            <a:ext cx="469843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pic>
        <p:nvPicPr>
          <p:cNvPr id="23" name="Immagine 22" descr="PI_logo_o_RGB_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2" y="6498212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27" name="Rettangolo 26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28" name="Rettangolo 27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cxnSp>
        <p:nvCxnSpPr>
          <p:cNvPr id="29" name="Connettore diritto 28"/>
          <p:cNvCxnSpPr/>
          <p:nvPr/>
        </p:nvCxnSpPr>
        <p:spPr>
          <a:xfrm>
            <a:off x="8658417" y="330405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Segnaposto testo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7034" y="6497638"/>
            <a:ext cx="6619754" cy="360362"/>
          </a:xfrm>
        </p:spPr>
        <p:txBody>
          <a:bodyPr anchor="ctr">
            <a:noAutofit/>
          </a:bodyPr>
          <a:lstStyle>
            <a:lvl1pPr marL="0" indent="0">
              <a:buNone/>
              <a:defRPr sz="675"/>
            </a:lvl1pPr>
            <a:lvl2pPr marL="342900" indent="0">
              <a:buNone/>
              <a:defRPr sz="600"/>
            </a:lvl2pPr>
            <a:lvl3pPr marL="685800" indent="0">
              <a:buNone/>
              <a:defRPr sz="525"/>
            </a:lvl3pPr>
            <a:lvl4pPr marL="1028700" indent="0">
              <a:buNone/>
              <a:defRPr sz="450"/>
            </a:lvl4pPr>
            <a:lvl5pPr marL="1371600" indent="0">
              <a:buNone/>
              <a:defRPr sz="450"/>
            </a:lvl5pPr>
          </a:lstStyle>
          <a:p>
            <a:pPr lvl="0"/>
            <a:r>
              <a:rPr lang="it-IT" dirty="0"/>
              <a:t>Struttura 1° livello - Struttura 2° livello - Struttura 3° livello </a:t>
            </a:r>
          </a:p>
        </p:txBody>
      </p:sp>
    </p:spTree>
    <p:extLst>
      <p:ext uri="{BB962C8B-B14F-4D97-AF65-F5344CB8AC3E}">
        <p14:creationId xmlns:p14="http://schemas.microsoft.com/office/powerpoint/2010/main" val="1408363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8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FCD7B171-F446-437C-A6D1-141BB932CE99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grpSp>
        <p:nvGrpSpPr>
          <p:cNvPr id="8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4" name="Group 61"/>
          <p:cNvGrpSpPr>
            <a:grpSpLocks/>
          </p:cNvGrpSpPr>
          <p:nvPr/>
        </p:nvGrpSpPr>
        <p:grpSpPr bwMode="auto">
          <a:xfrm>
            <a:off x="0" y="608027"/>
            <a:ext cx="9144000" cy="41275"/>
            <a:chOff x="0" y="1187350"/>
            <a:chExt cx="9144000" cy="40942"/>
          </a:xfrm>
        </p:grpSpPr>
        <p:cxnSp>
          <p:nvCxnSpPr>
            <p:cNvPr id="25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7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9" name="Diapositiva think-cell" r:id="rId9" imgW="360" imgH="360" progId="TCLayout.ActiveDocument.1">
                  <p:embed/>
                </p:oleObj>
              </mc:Choice>
              <mc:Fallback>
                <p:oleObj name="Diapositiva think-cell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5400000">
            <a:off x="5813430" y="3081766"/>
            <a:ext cx="5695951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5400">
                <a:solidFill>
                  <a:srgbClr val="F2F2F2"/>
                </a:solidFill>
              </a:rPr>
              <a:t>RISERVATO</a:t>
            </a:r>
          </a:p>
        </p:txBody>
      </p:sp>
      <p:sp>
        <p:nvSpPr>
          <p:cNvPr id="29" name="Rectangle 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150442" y="73026"/>
            <a:ext cx="227947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900">
                <a:solidFill>
                  <a:srgbClr val="C41300"/>
                </a:solidFill>
              </a:rPr>
              <a:t>FOR DISCUSSION ONLY-RIPRODUZIONE VIETATA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137" y="-250568"/>
            <a:ext cx="8273563" cy="831851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046" y="1509714"/>
            <a:ext cx="8274051" cy="4613275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945518031"/>
      </p:ext>
    </p:extLst>
  </p:cSld>
  <p:clrMapOvr>
    <a:masterClrMapping/>
  </p:clrMapOvr>
  <p:transition spd="slow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12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FED59FD3-BF61-4A79-A93E-B12D380BBD1C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grpSp>
        <p:nvGrpSpPr>
          <p:cNvPr id="8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4" name="Group 61"/>
          <p:cNvGrpSpPr>
            <a:grpSpLocks/>
          </p:cNvGrpSpPr>
          <p:nvPr/>
        </p:nvGrpSpPr>
        <p:grpSpPr bwMode="auto">
          <a:xfrm>
            <a:off x="0" y="608027"/>
            <a:ext cx="9144000" cy="41275"/>
            <a:chOff x="0" y="1187350"/>
            <a:chExt cx="9144000" cy="40942"/>
          </a:xfrm>
        </p:grpSpPr>
        <p:cxnSp>
          <p:nvCxnSpPr>
            <p:cNvPr id="25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7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13" name="Diapositiva think-cell" r:id="rId9" imgW="360" imgH="360" progId="TCLayout.ActiveDocument.1">
                  <p:embed/>
                </p:oleObj>
              </mc:Choice>
              <mc:Fallback>
                <p:oleObj name="Diapositiva think-cell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336676" y="5749931"/>
            <a:ext cx="525780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5400">
                <a:solidFill>
                  <a:srgbClr val="F2F2F2"/>
                </a:solidFill>
              </a:rPr>
              <a:t>RISERVATO</a:t>
            </a:r>
          </a:p>
        </p:txBody>
      </p:sp>
      <p:sp>
        <p:nvSpPr>
          <p:cNvPr id="29" name="Rectangle 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150442" y="73026"/>
            <a:ext cx="227947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900">
                <a:solidFill>
                  <a:srgbClr val="C41300"/>
                </a:solidFill>
              </a:rPr>
              <a:t>FOR DISCUSSION ONLY-RIPRODUZIONE VIETATA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137" y="-250568"/>
            <a:ext cx="8273563" cy="831851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046" y="1509714"/>
            <a:ext cx="8274051" cy="4613275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00501779"/>
      </p:ext>
    </p:extLst>
  </p:cSld>
  <p:clrMapOvr>
    <a:masterClrMapping/>
  </p:clrMapOvr>
  <p:transition spd="slow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36" name="Diapositiva think-cell" r:id="rId5" imgW="360" imgH="360" progId="TCLayout.ActiveDocument.1">
                  <p:embed/>
                </p:oleObj>
              </mc:Choice>
              <mc:Fallback>
                <p:oleObj name="Diapositiva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5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1472F6EC-1726-4A8D-957F-F38C405AC029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grpSp>
        <p:nvGrpSpPr>
          <p:cNvPr id="6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7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2" name="Group 61"/>
          <p:cNvGrpSpPr>
            <a:grpSpLocks/>
          </p:cNvGrpSpPr>
          <p:nvPr/>
        </p:nvGrpSpPr>
        <p:grpSpPr bwMode="auto">
          <a:xfrm>
            <a:off x="0" y="971556"/>
            <a:ext cx="9144000" cy="41275"/>
            <a:chOff x="0" y="1187350"/>
            <a:chExt cx="9144000" cy="40942"/>
          </a:xfrm>
        </p:grpSpPr>
        <p:cxnSp>
          <p:nvCxnSpPr>
            <p:cNvPr id="23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5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37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7125416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60" name="Diapositiva think-cell" r:id="rId5" imgW="360" imgH="360" progId="TCLayout.ActiveDocument.1">
                  <p:embed/>
                </p:oleObj>
              </mc:Choice>
              <mc:Fallback>
                <p:oleObj name="Diapositiva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4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6586FFB8-7EE2-4827-84F0-FAEEFFF208BB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grpSp>
        <p:nvGrpSpPr>
          <p:cNvPr id="5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6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7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8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0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1" name="Group 61"/>
          <p:cNvGrpSpPr>
            <a:grpSpLocks/>
          </p:cNvGrpSpPr>
          <p:nvPr/>
        </p:nvGrpSpPr>
        <p:grpSpPr bwMode="auto">
          <a:xfrm>
            <a:off x="0" y="971556"/>
            <a:ext cx="9144000" cy="41275"/>
            <a:chOff x="0" y="1187350"/>
            <a:chExt cx="9144000" cy="40942"/>
          </a:xfrm>
        </p:grpSpPr>
        <p:cxnSp>
          <p:nvCxnSpPr>
            <p:cNvPr id="22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4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61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514591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84" name="Diapositiva think-cell" r:id="rId6" imgW="360" imgH="360" progId="TCLayout.ActiveDocument.1">
                  <p:embed/>
                </p:oleObj>
              </mc:Choice>
              <mc:Fallback>
                <p:oleObj name="Diapositiva think-cell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4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11B332E4-B214-494B-94F4-7AFF0056577F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grpSp>
        <p:nvGrpSpPr>
          <p:cNvPr id="5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6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7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8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0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1" name="Group 61"/>
          <p:cNvGrpSpPr>
            <a:grpSpLocks/>
          </p:cNvGrpSpPr>
          <p:nvPr/>
        </p:nvGrpSpPr>
        <p:grpSpPr bwMode="auto">
          <a:xfrm>
            <a:off x="0" y="1106502"/>
            <a:ext cx="9144000" cy="41275"/>
            <a:chOff x="0" y="1187350"/>
            <a:chExt cx="9144000" cy="40942"/>
          </a:xfrm>
        </p:grpSpPr>
        <p:cxnSp>
          <p:nvCxnSpPr>
            <p:cNvPr id="22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4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85" name="Diapositiva think-cell" r:id="rId8" imgW="360" imgH="360" progId="TCLayout.ActiveDocument.1">
                  <p:embed/>
                </p:oleObj>
              </mc:Choice>
              <mc:Fallback>
                <p:oleObj name="Diapositiva think-cell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150442" y="73026"/>
            <a:ext cx="227947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900">
                <a:solidFill>
                  <a:srgbClr val="C41300"/>
                </a:solidFill>
              </a:rPr>
              <a:t>FOR DISCUSSION ONLY-RIPRODUZIONE VIETATA </a:t>
            </a:r>
          </a:p>
        </p:txBody>
      </p:sp>
    </p:spTree>
    <p:extLst>
      <p:ext uri="{BB962C8B-B14F-4D97-AF65-F5344CB8AC3E}">
        <p14:creationId xmlns:p14="http://schemas.microsoft.com/office/powerpoint/2010/main" val="29578493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08" name="Diapositiva think-cell" r:id="rId6" imgW="360" imgH="360" progId="TCLayout.ActiveDocument.1">
                  <p:embed/>
                </p:oleObj>
              </mc:Choice>
              <mc:Fallback>
                <p:oleObj name="Diapositiva think-cell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FC5384FC-E58D-4B54-87CE-D918F2E6C9ED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grpSp>
        <p:nvGrpSpPr>
          <p:cNvPr id="8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4" name="Group 61"/>
          <p:cNvGrpSpPr>
            <a:grpSpLocks/>
          </p:cNvGrpSpPr>
          <p:nvPr/>
        </p:nvGrpSpPr>
        <p:grpSpPr bwMode="auto">
          <a:xfrm>
            <a:off x="0" y="971556"/>
            <a:ext cx="9144000" cy="41275"/>
            <a:chOff x="0" y="1187350"/>
            <a:chExt cx="9144000" cy="40942"/>
          </a:xfrm>
        </p:grpSpPr>
        <p:cxnSp>
          <p:nvCxnSpPr>
            <p:cNvPr id="25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7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09" name="Diapositiva think-cell" r:id="rId8" imgW="360" imgH="360" progId="TCLayout.ActiveDocument.1">
                  <p:embed/>
                </p:oleObj>
              </mc:Choice>
              <mc:Fallback>
                <p:oleObj name="Diapositiva think-cell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150442" y="73026"/>
            <a:ext cx="227947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900">
                <a:solidFill>
                  <a:srgbClr val="C41300"/>
                </a:solidFill>
              </a:rPr>
              <a:t>FOR DISCUSSION ONLY-RIPRODUZIONE VIETATA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413" y="-306388"/>
            <a:ext cx="8272463" cy="831851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046" y="1509714"/>
            <a:ext cx="8274051" cy="4613275"/>
          </a:xfrm>
          <a:prstGeom prst="rect">
            <a:avLst/>
          </a:prstGeom>
        </p:spPr>
        <p:txBody>
          <a:bodyPr lIns="91429" tIns="45715" rIns="91429" bIns="45715"/>
          <a:lstStyle>
            <a:lvl1pPr marL="172781" indent="-172781">
              <a:buFont typeface="Calibri" pitchFamily="34" charset="0"/>
              <a:buChar char="→"/>
              <a:defRPr b="0"/>
            </a:lvl1pPr>
            <a:lvl2pPr marL="342861" indent="-172781">
              <a:buFont typeface="Arial" pitchFamily="34" charset="0"/>
              <a:buChar char="•"/>
              <a:defRPr/>
            </a:lvl2pPr>
            <a:lvl3pPr marL="685722">
              <a:buFont typeface="Calibri" pitchFamily="34" charset="0"/>
              <a:buChar char="–"/>
              <a:defRPr/>
            </a:lvl3pPr>
            <a:lvl4pPr marL="1028584">
              <a:buFont typeface="Trebuchet MS" pitchFamily="34" charset="0"/>
              <a:buChar char="–"/>
              <a:defRPr/>
            </a:lvl4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</p:txBody>
      </p:sp>
    </p:spTree>
    <p:extLst>
      <p:ext uri="{BB962C8B-B14F-4D97-AF65-F5344CB8AC3E}">
        <p14:creationId xmlns:p14="http://schemas.microsoft.com/office/powerpoint/2010/main" val="4186362298"/>
      </p:ext>
    </p:extLst>
  </p:cSld>
  <p:clrMapOvr>
    <a:masterClrMapping/>
  </p:clrMapOvr>
  <p:transition spd="slow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4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09" name="Diapositiva think-cell" r:id="rId4" imgW="0" imgH="0" progId="TCLayout.ActiveDocument.1">
                  <p:embed/>
                </p:oleObj>
              </mc:Choice>
              <mc:Fallback>
                <p:oleObj name="Diapositiva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4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11"/>
          <p:cNvGrpSpPr>
            <a:grpSpLocks/>
          </p:cNvGrpSpPr>
          <p:nvPr/>
        </p:nvGrpSpPr>
        <p:grpSpPr bwMode="auto">
          <a:xfrm>
            <a:off x="4" y="6"/>
            <a:ext cx="3578225" cy="630239"/>
            <a:chOff x="0" y="-1"/>
            <a:chExt cx="3876673" cy="630746"/>
          </a:xfrm>
        </p:grpSpPr>
        <p:sp>
          <p:nvSpPr>
            <p:cNvPr id="7" name="Freeform 6"/>
            <p:cNvSpPr>
              <a:spLocks noChangeAspect="1"/>
            </p:cNvSpPr>
            <p:nvPr userDrawn="1"/>
          </p:nvSpPr>
          <p:spPr bwMode="auto">
            <a:xfrm rot="10800000">
              <a:off x="772239" y="-1"/>
              <a:ext cx="3104434" cy="630746"/>
            </a:xfrm>
            <a:custGeom>
              <a:avLst/>
              <a:gdLst/>
              <a:ahLst/>
              <a:cxnLst>
                <a:cxn ang="0">
                  <a:pos x="1196" y="0"/>
                </a:cxn>
                <a:cxn ang="0">
                  <a:pos x="236" y="0"/>
                </a:cxn>
                <a:cxn ang="0">
                  <a:pos x="0" y="212"/>
                </a:cxn>
                <a:cxn ang="0">
                  <a:pos x="1196" y="212"/>
                </a:cxn>
                <a:cxn ang="0">
                  <a:pos x="1196" y="0"/>
                </a:cxn>
              </a:cxnLst>
              <a:rect l="0" t="0" r="r" b="b"/>
              <a:pathLst>
                <a:path w="1196" h="212">
                  <a:moveTo>
                    <a:pt x="1196" y="0"/>
                  </a:moveTo>
                  <a:cubicBezTo>
                    <a:pt x="236" y="0"/>
                    <a:pt x="236" y="0"/>
                    <a:pt x="236" y="0"/>
                  </a:cubicBezTo>
                  <a:cubicBezTo>
                    <a:pt x="106" y="0"/>
                    <a:pt x="0" y="95"/>
                    <a:pt x="0" y="212"/>
                  </a:cubicBezTo>
                  <a:cubicBezTo>
                    <a:pt x="1196" y="212"/>
                    <a:pt x="1196" y="212"/>
                    <a:pt x="1196" y="212"/>
                  </a:cubicBezTo>
                  <a:lnTo>
                    <a:pt x="1196" y="0"/>
                  </a:lnTo>
                  <a:close/>
                </a:path>
              </a:pathLst>
            </a:custGeom>
            <a:solidFill>
              <a:srgbClr val="F4E6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000000"/>
                </a:solidFill>
              </a:endParaRPr>
            </a:p>
          </p:txBody>
        </p:sp>
        <p:sp>
          <p:nvSpPr>
            <p:cNvPr id="8" name="Freeform 6"/>
            <p:cNvSpPr>
              <a:spLocks noChangeAspect="1"/>
            </p:cNvSpPr>
            <p:nvPr userDrawn="1"/>
          </p:nvSpPr>
          <p:spPr bwMode="auto">
            <a:xfrm rot="10800000">
              <a:off x="0" y="-1"/>
              <a:ext cx="3104435" cy="630746"/>
            </a:xfrm>
            <a:custGeom>
              <a:avLst/>
              <a:gdLst/>
              <a:ahLst/>
              <a:cxnLst>
                <a:cxn ang="0">
                  <a:pos x="1196" y="0"/>
                </a:cxn>
                <a:cxn ang="0">
                  <a:pos x="236" y="0"/>
                </a:cxn>
                <a:cxn ang="0">
                  <a:pos x="0" y="212"/>
                </a:cxn>
                <a:cxn ang="0">
                  <a:pos x="1196" y="212"/>
                </a:cxn>
                <a:cxn ang="0">
                  <a:pos x="1196" y="0"/>
                </a:cxn>
              </a:cxnLst>
              <a:rect l="0" t="0" r="r" b="b"/>
              <a:pathLst>
                <a:path w="1196" h="212">
                  <a:moveTo>
                    <a:pt x="1196" y="0"/>
                  </a:moveTo>
                  <a:cubicBezTo>
                    <a:pt x="236" y="0"/>
                    <a:pt x="236" y="0"/>
                    <a:pt x="236" y="0"/>
                  </a:cubicBezTo>
                  <a:cubicBezTo>
                    <a:pt x="106" y="0"/>
                    <a:pt x="0" y="95"/>
                    <a:pt x="0" y="212"/>
                  </a:cubicBezTo>
                  <a:cubicBezTo>
                    <a:pt x="1196" y="212"/>
                    <a:pt x="1196" y="212"/>
                    <a:pt x="1196" y="212"/>
                  </a:cubicBezTo>
                  <a:lnTo>
                    <a:pt x="1196" y="0"/>
                  </a:lnTo>
                  <a:close/>
                </a:path>
              </a:pathLst>
            </a:custGeom>
            <a:solidFill>
              <a:srgbClr val="F4E6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000000"/>
                </a:solidFill>
              </a:endParaRPr>
            </a:p>
          </p:txBody>
        </p:sp>
      </p:grpSp>
      <p:grpSp>
        <p:nvGrpSpPr>
          <p:cNvPr id="9" name="Group 29"/>
          <p:cNvGrpSpPr/>
          <p:nvPr/>
        </p:nvGrpSpPr>
        <p:grpSpPr>
          <a:xfrm>
            <a:off x="302130" y="155582"/>
            <a:ext cx="2208793" cy="273051"/>
            <a:chOff x="4880233" y="981075"/>
            <a:chExt cx="1985052" cy="226515"/>
          </a:xfrm>
          <a:solidFill>
            <a:srgbClr val="FF0000"/>
          </a:solidFill>
        </p:grpSpPr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5643808" y="1045713"/>
              <a:ext cx="185718" cy="161877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/>
          </p:nvSpPr>
          <p:spPr bwMode="auto">
            <a:xfrm>
              <a:off x="4880233" y="983323"/>
              <a:ext cx="217990" cy="219770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5100659" y="1045713"/>
              <a:ext cx="200332" cy="161877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5313169" y="1045713"/>
              <a:ext cx="166842" cy="161877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/>
          </p:nvSpPr>
          <p:spPr bwMode="auto">
            <a:xfrm>
              <a:off x="5489754" y="1004682"/>
              <a:ext cx="137005" cy="202908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auto">
            <a:xfrm>
              <a:off x="5854492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/>
          </p:nvSpPr>
          <p:spPr bwMode="auto">
            <a:xfrm>
              <a:off x="5854492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/>
          </p:nvSpPr>
          <p:spPr bwMode="auto">
            <a:xfrm>
              <a:off x="5912947" y="1006931"/>
              <a:ext cx="102906" cy="198411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030467" y="1043465"/>
              <a:ext cx="149183" cy="161877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Rectangle 15"/>
            <p:cNvSpPr>
              <a:spLocks noChangeArrowheads="1"/>
            </p:cNvSpPr>
            <p:nvPr/>
          </p:nvSpPr>
          <p:spPr bwMode="auto">
            <a:xfrm>
              <a:off x="6211923" y="981075"/>
              <a:ext cx="31663" cy="219770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6"/>
            <p:cNvSpPr>
              <a:spLocks noEditPoints="1"/>
            </p:cNvSpPr>
            <p:nvPr/>
          </p:nvSpPr>
          <p:spPr bwMode="auto">
            <a:xfrm>
              <a:off x="6282557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auto">
            <a:xfrm>
              <a:off x="6282557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8"/>
            <p:cNvSpPr>
              <a:spLocks noEditPoints="1"/>
            </p:cNvSpPr>
            <p:nvPr/>
          </p:nvSpPr>
          <p:spPr bwMode="auto">
            <a:xfrm>
              <a:off x="6348928" y="1043465"/>
              <a:ext cx="146139" cy="161877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auto">
            <a:xfrm>
              <a:off x="6529775" y="1043465"/>
              <a:ext cx="151619" cy="157380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4" name="Freeform 20"/>
            <p:cNvSpPr>
              <a:spLocks noEditPoints="1"/>
            </p:cNvSpPr>
            <p:nvPr/>
          </p:nvSpPr>
          <p:spPr bwMode="auto">
            <a:xfrm>
              <a:off x="6705750" y="1043465"/>
              <a:ext cx="159535" cy="161877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pic>
        <p:nvPicPr>
          <p:cNvPr id="25" name="Picture 2" descr="Prima_footer-giallo-v42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4688" y="6180148"/>
            <a:ext cx="8469312" cy="677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Text Placeholder 48"/>
          <p:cNvSpPr>
            <a:spLocks noGrp="1"/>
          </p:cNvSpPr>
          <p:nvPr>
            <p:ph type="body" sz="quarter" idx="11"/>
          </p:nvPr>
        </p:nvSpPr>
        <p:spPr>
          <a:xfrm>
            <a:off x="250826" y="1700213"/>
            <a:ext cx="8569324" cy="2438400"/>
          </a:xfrm>
          <a:prstGeom prst="rect">
            <a:avLst/>
          </a:prstGeom>
        </p:spPr>
        <p:txBody>
          <a:bodyPr lIns="91429" tIns="45715" rIns="91429" bIns="45715"/>
          <a:lstStyle>
            <a:lvl1pPr algn="ctr">
              <a:defRPr sz="3000"/>
            </a:lvl1pPr>
          </a:lstStyle>
          <a:p>
            <a:pPr lvl="0"/>
            <a:r>
              <a:rPr lang="it-IT" noProof="0"/>
              <a:t>Fare clic per modificare stili del testo dello schema</a:t>
            </a:r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2"/>
          </p:nvPr>
        </p:nvSpPr>
        <p:spPr>
          <a:xfrm>
            <a:off x="1258966" y="3617931"/>
            <a:ext cx="6769100" cy="1755775"/>
          </a:xfrm>
          <a:prstGeom prst="rect">
            <a:avLst/>
          </a:prstGeom>
        </p:spPr>
        <p:txBody>
          <a:bodyPr lIns="91429" tIns="45715" rIns="91429" bIns="45715"/>
          <a:lstStyle>
            <a:lvl1pPr algn="ctr">
              <a:defRPr sz="1725" baseline="0"/>
            </a:lvl1pPr>
          </a:lstStyle>
          <a:p>
            <a:pPr lvl="0"/>
            <a:r>
              <a:rPr lang="it-IT" noProof="0"/>
              <a:t>Fare clic per modificare stili del testo dello schema</a:t>
            </a:r>
          </a:p>
        </p:txBody>
      </p:sp>
      <p:sp>
        <p:nvSpPr>
          <p:cNvPr id="53" name="Text Placeholder 52"/>
          <p:cNvSpPr>
            <a:spLocks noGrp="1"/>
          </p:cNvSpPr>
          <p:nvPr>
            <p:ph type="body" sz="quarter" idx="13"/>
          </p:nvPr>
        </p:nvSpPr>
        <p:spPr>
          <a:xfrm>
            <a:off x="4141183" y="6314523"/>
            <a:ext cx="5002823" cy="476251"/>
          </a:xfrm>
          <a:prstGeom prst="rect">
            <a:avLst/>
          </a:prstGeom>
        </p:spPr>
        <p:txBody>
          <a:bodyPr lIns="91429" tIns="45715" rIns="91429" bIns="45715"/>
          <a:lstStyle>
            <a:lvl1pPr algn="ctr">
              <a:defRPr i="1"/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8019646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56" name="Diapositiva think-cell" r:id="rId5" imgW="360" imgH="360" progId="TCLayout.ActiveDocument.1">
                  <p:embed/>
                </p:oleObj>
              </mc:Choice>
              <mc:Fallback>
                <p:oleObj name="Diapositiva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BCF583AB-1CFA-49B7-B253-C269780C28CD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grpSp>
        <p:nvGrpSpPr>
          <p:cNvPr id="9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4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5" name="Group 61"/>
          <p:cNvGrpSpPr>
            <a:grpSpLocks/>
          </p:cNvGrpSpPr>
          <p:nvPr/>
        </p:nvGrpSpPr>
        <p:grpSpPr bwMode="auto">
          <a:xfrm>
            <a:off x="0" y="608027"/>
            <a:ext cx="9144000" cy="41275"/>
            <a:chOff x="0" y="1187350"/>
            <a:chExt cx="9144000" cy="40942"/>
          </a:xfrm>
        </p:grpSpPr>
        <p:cxnSp>
          <p:nvCxnSpPr>
            <p:cNvPr id="26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9" name="Object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57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824403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80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4581D192-D338-4651-BAC7-F94384EE2004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sp>
        <p:nvSpPr>
          <p:cNvPr id="8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150442" y="73026"/>
            <a:ext cx="227947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900">
                <a:solidFill>
                  <a:srgbClr val="C41300"/>
                </a:solidFill>
              </a:rPr>
              <a:t>FOR DISCUSSION ONLY-RIPRODUZIONE VIETATA </a:t>
            </a:r>
          </a:p>
        </p:txBody>
      </p:sp>
      <p:grpSp>
        <p:nvGrpSpPr>
          <p:cNvPr id="9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4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5" name="Group 61"/>
          <p:cNvGrpSpPr>
            <a:grpSpLocks/>
          </p:cNvGrpSpPr>
          <p:nvPr/>
        </p:nvGrpSpPr>
        <p:grpSpPr bwMode="auto">
          <a:xfrm>
            <a:off x="0" y="608027"/>
            <a:ext cx="9144000" cy="41275"/>
            <a:chOff x="0" y="1187350"/>
            <a:chExt cx="9144000" cy="40942"/>
          </a:xfrm>
        </p:grpSpPr>
        <p:cxnSp>
          <p:nvCxnSpPr>
            <p:cNvPr id="26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19378617">
            <a:off x="1266825" y="3198320"/>
            <a:ext cx="6724651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6000">
                <a:solidFill>
                  <a:srgbClr val="F2F2F2"/>
                </a:solidFill>
              </a:rPr>
              <a:t>RISERVATO</a:t>
            </a:r>
          </a:p>
        </p:txBody>
      </p:sp>
      <p:graphicFrame>
        <p:nvGraphicFramePr>
          <p:cNvPr id="29" name="Object 3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81" name="Diapositiva think-cell" r:id="rId9" imgW="360" imgH="360" progId="TCLayout.ActiveDocument.1">
                  <p:embed/>
                </p:oleObj>
              </mc:Choice>
              <mc:Fallback>
                <p:oleObj name="Diapositiva think-cell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413" y="-306388"/>
            <a:ext cx="8272463" cy="831851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046" y="1509714"/>
            <a:ext cx="8274051" cy="4613275"/>
          </a:xfrm>
          <a:prstGeom prst="rect">
            <a:avLst/>
          </a:prstGeom>
        </p:spPr>
        <p:txBody>
          <a:bodyPr lIns="91429" tIns="45715" rIns="91429" bIns="45715"/>
          <a:lstStyle>
            <a:lvl1pPr marL="172781" indent="-172781">
              <a:buFont typeface="Calibri" pitchFamily="34" charset="0"/>
              <a:buChar char="→"/>
              <a:defRPr b="0"/>
            </a:lvl1pPr>
            <a:lvl2pPr marL="342861" indent="-172781">
              <a:buFont typeface="Arial" pitchFamily="34" charset="0"/>
              <a:buChar char="•"/>
              <a:defRPr/>
            </a:lvl2pPr>
            <a:lvl3pPr marL="685722">
              <a:buFont typeface="Calibri" pitchFamily="34" charset="0"/>
              <a:buChar char="–"/>
              <a:defRPr/>
            </a:lvl3pPr>
            <a:lvl4pPr marL="1028584">
              <a:buFont typeface="Trebuchet MS" pitchFamily="34" charset="0"/>
              <a:buChar char="–"/>
              <a:defRPr/>
            </a:lvl4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</p:txBody>
      </p:sp>
    </p:spTree>
    <p:extLst>
      <p:ext uri="{BB962C8B-B14F-4D97-AF65-F5344CB8AC3E}">
        <p14:creationId xmlns:p14="http://schemas.microsoft.com/office/powerpoint/2010/main" val="20029930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04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5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A9D22214-AE1A-4648-B760-E97D15B4E446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sp>
        <p:nvSpPr>
          <p:cNvPr id="6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150442" y="73026"/>
            <a:ext cx="227947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900">
                <a:solidFill>
                  <a:srgbClr val="C41300"/>
                </a:solidFill>
              </a:rPr>
              <a:t>FOR DISCUSSION ONLY-RIPRODUZIONE VIETATA </a:t>
            </a:r>
          </a:p>
        </p:txBody>
      </p:sp>
      <p:grpSp>
        <p:nvGrpSpPr>
          <p:cNvPr id="7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8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3" name="Group 61"/>
          <p:cNvGrpSpPr>
            <a:grpSpLocks/>
          </p:cNvGrpSpPr>
          <p:nvPr/>
        </p:nvGrpSpPr>
        <p:grpSpPr bwMode="auto">
          <a:xfrm>
            <a:off x="0" y="608027"/>
            <a:ext cx="9144000" cy="41275"/>
            <a:chOff x="0" y="1187350"/>
            <a:chExt cx="9144000" cy="40942"/>
          </a:xfrm>
        </p:grpSpPr>
        <p:cxnSp>
          <p:nvCxnSpPr>
            <p:cNvPr id="24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19378617">
            <a:off x="1266825" y="3198320"/>
            <a:ext cx="6724651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6000">
                <a:solidFill>
                  <a:srgbClr val="F2F2F2"/>
                </a:solidFill>
              </a:rPr>
              <a:t>RISERVATO</a:t>
            </a:r>
          </a:p>
        </p:txBody>
      </p:sp>
      <p:graphicFrame>
        <p:nvGraphicFramePr>
          <p:cNvPr id="27" name="Object 2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05" name="Diapositiva think-cell" r:id="rId9" imgW="360" imgH="360" progId="TCLayout.ActiveDocument.1">
                  <p:embed/>
                </p:oleObj>
              </mc:Choice>
              <mc:Fallback>
                <p:oleObj name="Diapositiva think-cell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8435" y="3"/>
            <a:ext cx="8274050" cy="831851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8288983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magine Pagina Inte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3000" baseline="0"/>
            </a:lvl1pPr>
          </a:lstStyle>
          <a:p>
            <a:r>
              <a:rPr lang="it-IT" dirty="0"/>
              <a:t>IMMAGINE A PAGINA INTERA</a:t>
            </a:r>
          </a:p>
          <a:p>
            <a:r>
              <a:rPr lang="it-IT" dirty="0"/>
              <a:t>Cliccare per inserire</a:t>
            </a:r>
          </a:p>
        </p:txBody>
      </p:sp>
    </p:spTree>
    <p:extLst>
      <p:ext uri="{BB962C8B-B14F-4D97-AF65-F5344CB8AC3E}">
        <p14:creationId xmlns:p14="http://schemas.microsoft.com/office/powerpoint/2010/main" val="165067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413" y="-306388"/>
            <a:ext cx="8272463" cy="831851"/>
          </a:xfrm>
          <a:prstGeom prst="rect">
            <a:avLst/>
          </a:prstGeom>
        </p:spPr>
        <p:txBody>
          <a:bodyPr lIns="91429" tIns="45715" rIns="91429" bIns="45715"/>
          <a:lstStyle/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410802845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413" y="-306388"/>
            <a:ext cx="8272463" cy="831851"/>
          </a:xfrm>
          <a:prstGeom prst="rect">
            <a:avLst/>
          </a:prstGeom>
        </p:spPr>
        <p:txBody>
          <a:bodyPr lIns="91429" tIns="45715" rIns="91429" bIns="45715"/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2815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4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5" name="Diapositiva think-cell" r:id="rId4" imgW="0" imgH="0" progId="TCLayout.ActiveDocument.1">
                  <p:embed/>
                </p:oleObj>
              </mc:Choice>
              <mc:Fallback>
                <p:oleObj name="Diapositiva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4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11"/>
          <p:cNvGrpSpPr>
            <a:grpSpLocks/>
          </p:cNvGrpSpPr>
          <p:nvPr/>
        </p:nvGrpSpPr>
        <p:grpSpPr bwMode="auto">
          <a:xfrm>
            <a:off x="4" y="6"/>
            <a:ext cx="3578225" cy="630239"/>
            <a:chOff x="0" y="-1"/>
            <a:chExt cx="3876673" cy="630746"/>
          </a:xfrm>
        </p:grpSpPr>
        <p:sp>
          <p:nvSpPr>
            <p:cNvPr id="7" name="Freeform 6"/>
            <p:cNvSpPr>
              <a:spLocks noChangeAspect="1"/>
            </p:cNvSpPr>
            <p:nvPr userDrawn="1"/>
          </p:nvSpPr>
          <p:spPr bwMode="auto">
            <a:xfrm rot="10800000">
              <a:off x="772239" y="-1"/>
              <a:ext cx="3104434" cy="630746"/>
            </a:xfrm>
            <a:custGeom>
              <a:avLst/>
              <a:gdLst/>
              <a:ahLst/>
              <a:cxnLst>
                <a:cxn ang="0">
                  <a:pos x="1196" y="0"/>
                </a:cxn>
                <a:cxn ang="0">
                  <a:pos x="236" y="0"/>
                </a:cxn>
                <a:cxn ang="0">
                  <a:pos x="0" y="212"/>
                </a:cxn>
                <a:cxn ang="0">
                  <a:pos x="1196" y="212"/>
                </a:cxn>
                <a:cxn ang="0">
                  <a:pos x="1196" y="0"/>
                </a:cxn>
              </a:cxnLst>
              <a:rect l="0" t="0" r="r" b="b"/>
              <a:pathLst>
                <a:path w="1196" h="212">
                  <a:moveTo>
                    <a:pt x="1196" y="0"/>
                  </a:moveTo>
                  <a:cubicBezTo>
                    <a:pt x="236" y="0"/>
                    <a:pt x="236" y="0"/>
                    <a:pt x="236" y="0"/>
                  </a:cubicBezTo>
                  <a:cubicBezTo>
                    <a:pt x="106" y="0"/>
                    <a:pt x="0" y="95"/>
                    <a:pt x="0" y="212"/>
                  </a:cubicBezTo>
                  <a:cubicBezTo>
                    <a:pt x="1196" y="212"/>
                    <a:pt x="1196" y="212"/>
                    <a:pt x="1196" y="212"/>
                  </a:cubicBezTo>
                  <a:lnTo>
                    <a:pt x="1196" y="0"/>
                  </a:lnTo>
                  <a:close/>
                </a:path>
              </a:pathLst>
            </a:custGeom>
            <a:solidFill>
              <a:srgbClr val="F4E6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000000"/>
                </a:solidFill>
              </a:endParaRPr>
            </a:p>
          </p:txBody>
        </p:sp>
        <p:sp>
          <p:nvSpPr>
            <p:cNvPr id="8" name="Freeform 6"/>
            <p:cNvSpPr>
              <a:spLocks noChangeAspect="1"/>
            </p:cNvSpPr>
            <p:nvPr userDrawn="1"/>
          </p:nvSpPr>
          <p:spPr bwMode="auto">
            <a:xfrm rot="10800000">
              <a:off x="0" y="-1"/>
              <a:ext cx="3104435" cy="630746"/>
            </a:xfrm>
            <a:custGeom>
              <a:avLst/>
              <a:gdLst/>
              <a:ahLst/>
              <a:cxnLst>
                <a:cxn ang="0">
                  <a:pos x="1196" y="0"/>
                </a:cxn>
                <a:cxn ang="0">
                  <a:pos x="236" y="0"/>
                </a:cxn>
                <a:cxn ang="0">
                  <a:pos x="0" y="212"/>
                </a:cxn>
                <a:cxn ang="0">
                  <a:pos x="1196" y="212"/>
                </a:cxn>
                <a:cxn ang="0">
                  <a:pos x="1196" y="0"/>
                </a:cxn>
              </a:cxnLst>
              <a:rect l="0" t="0" r="r" b="b"/>
              <a:pathLst>
                <a:path w="1196" h="212">
                  <a:moveTo>
                    <a:pt x="1196" y="0"/>
                  </a:moveTo>
                  <a:cubicBezTo>
                    <a:pt x="236" y="0"/>
                    <a:pt x="236" y="0"/>
                    <a:pt x="236" y="0"/>
                  </a:cubicBezTo>
                  <a:cubicBezTo>
                    <a:pt x="106" y="0"/>
                    <a:pt x="0" y="95"/>
                    <a:pt x="0" y="212"/>
                  </a:cubicBezTo>
                  <a:cubicBezTo>
                    <a:pt x="1196" y="212"/>
                    <a:pt x="1196" y="212"/>
                    <a:pt x="1196" y="212"/>
                  </a:cubicBezTo>
                  <a:lnTo>
                    <a:pt x="1196" y="0"/>
                  </a:lnTo>
                  <a:close/>
                </a:path>
              </a:pathLst>
            </a:custGeom>
            <a:solidFill>
              <a:srgbClr val="F4E6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000000"/>
                </a:solidFill>
              </a:endParaRPr>
            </a:p>
          </p:txBody>
        </p:sp>
      </p:grpSp>
      <p:grpSp>
        <p:nvGrpSpPr>
          <p:cNvPr id="9" name="Group 29"/>
          <p:cNvGrpSpPr/>
          <p:nvPr/>
        </p:nvGrpSpPr>
        <p:grpSpPr>
          <a:xfrm>
            <a:off x="302130" y="155582"/>
            <a:ext cx="2208793" cy="273051"/>
            <a:chOff x="4880233" y="981075"/>
            <a:chExt cx="1985052" cy="226515"/>
          </a:xfrm>
          <a:solidFill>
            <a:srgbClr val="FF0000"/>
          </a:solidFill>
        </p:grpSpPr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5643808" y="1045713"/>
              <a:ext cx="185718" cy="161877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/>
          </p:nvSpPr>
          <p:spPr bwMode="auto">
            <a:xfrm>
              <a:off x="4880233" y="983323"/>
              <a:ext cx="217990" cy="219770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5100659" y="1045713"/>
              <a:ext cx="200332" cy="161877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5313169" y="1045713"/>
              <a:ext cx="166842" cy="161877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/>
          </p:nvSpPr>
          <p:spPr bwMode="auto">
            <a:xfrm>
              <a:off x="5489754" y="1004682"/>
              <a:ext cx="137005" cy="202908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auto">
            <a:xfrm>
              <a:off x="5854492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/>
          </p:nvSpPr>
          <p:spPr bwMode="auto">
            <a:xfrm>
              <a:off x="5854492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/>
          </p:nvSpPr>
          <p:spPr bwMode="auto">
            <a:xfrm>
              <a:off x="5912947" y="1006931"/>
              <a:ext cx="102906" cy="198411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030467" y="1043465"/>
              <a:ext cx="149183" cy="161877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Rectangle 15"/>
            <p:cNvSpPr>
              <a:spLocks noChangeArrowheads="1"/>
            </p:cNvSpPr>
            <p:nvPr/>
          </p:nvSpPr>
          <p:spPr bwMode="auto">
            <a:xfrm>
              <a:off x="6211923" y="981075"/>
              <a:ext cx="31663" cy="219770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6"/>
            <p:cNvSpPr>
              <a:spLocks noEditPoints="1"/>
            </p:cNvSpPr>
            <p:nvPr/>
          </p:nvSpPr>
          <p:spPr bwMode="auto">
            <a:xfrm>
              <a:off x="6282557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auto">
            <a:xfrm>
              <a:off x="6282557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8"/>
            <p:cNvSpPr>
              <a:spLocks noEditPoints="1"/>
            </p:cNvSpPr>
            <p:nvPr/>
          </p:nvSpPr>
          <p:spPr bwMode="auto">
            <a:xfrm>
              <a:off x="6348928" y="1043465"/>
              <a:ext cx="146139" cy="161877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auto">
            <a:xfrm>
              <a:off x="6529775" y="1043465"/>
              <a:ext cx="151619" cy="157380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4" name="Freeform 20"/>
            <p:cNvSpPr>
              <a:spLocks noEditPoints="1"/>
            </p:cNvSpPr>
            <p:nvPr/>
          </p:nvSpPr>
          <p:spPr bwMode="auto">
            <a:xfrm>
              <a:off x="6705750" y="1043465"/>
              <a:ext cx="159535" cy="161877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pic>
        <p:nvPicPr>
          <p:cNvPr id="25" name="Picture 2" descr="Prima_footer-giallo-v42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4688" y="6180148"/>
            <a:ext cx="8469312" cy="677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Text Placeholder 48"/>
          <p:cNvSpPr>
            <a:spLocks noGrp="1"/>
          </p:cNvSpPr>
          <p:nvPr>
            <p:ph type="body" sz="quarter" idx="11"/>
          </p:nvPr>
        </p:nvSpPr>
        <p:spPr>
          <a:xfrm>
            <a:off x="250826" y="1700213"/>
            <a:ext cx="8569324" cy="2438400"/>
          </a:xfrm>
          <a:prstGeom prst="rect">
            <a:avLst/>
          </a:prstGeom>
        </p:spPr>
        <p:txBody>
          <a:bodyPr lIns="91429" tIns="45715" rIns="91429" bIns="45715"/>
          <a:lstStyle>
            <a:lvl1pPr algn="ctr">
              <a:defRPr sz="3000"/>
            </a:lvl1pPr>
          </a:lstStyle>
          <a:p>
            <a:pPr lvl="0"/>
            <a:r>
              <a:rPr lang="it-IT" noProof="0"/>
              <a:t>Fare clic per modificare stili del testo dello schema</a:t>
            </a:r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2"/>
          </p:nvPr>
        </p:nvSpPr>
        <p:spPr>
          <a:xfrm>
            <a:off x="1258987" y="3617931"/>
            <a:ext cx="6769100" cy="1755775"/>
          </a:xfrm>
          <a:prstGeom prst="rect">
            <a:avLst/>
          </a:prstGeom>
        </p:spPr>
        <p:txBody>
          <a:bodyPr lIns="91429" tIns="45715" rIns="91429" bIns="45715"/>
          <a:lstStyle>
            <a:lvl1pPr algn="ctr">
              <a:defRPr sz="1725" baseline="0"/>
            </a:lvl1pPr>
          </a:lstStyle>
          <a:p>
            <a:pPr lvl="0"/>
            <a:r>
              <a:rPr lang="it-IT" noProof="0"/>
              <a:t>Fare clic per modificare stili del testo dello schema</a:t>
            </a:r>
          </a:p>
        </p:txBody>
      </p:sp>
      <p:sp>
        <p:nvSpPr>
          <p:cNvPr id="53" name="Text Placeholder 52"/>
          <p:cNvSpPr>
            <a:spLocks noGrp="1"/>
          </p:cNvSpPr>
          <p:nvPr>
            <p:ph type="body" sz="quarter" idx="13"/>
          </p:nvPr>
        </p:nvSpPr>
        <p:spPr>
          <a:xfrm>
            <a:off x="4141183" y="6314523"/>
            <a:ext cx="5002823" cy="476251"/>
          </a:xfrm>
          <a:prstGeom prst="rect">
            <a:avLst/>
          </a:prstGeom>
        </p:spPr>
        <p:txBody>
          <a:bodyPr lIns="91429" tIns="45715" rIns="91429" bIns="45715"/>
          <a:lstStyle>
            <a:lvl1pPr algn="ctr">
              <a:defRPr i="1"/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96624147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52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4B343FEC-9E6A-4B24-9D68-4BA5883045B3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sp>
        <p:nvSpPr>
          <p:cNvPr id="8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150442" y="73026"/>
            <a:ext cx="227947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900">
                <a:solidFill>
                  <a:srgbClr val="C41300"/>
                </a:solidFill>
              </a:rPr>
              <a:t>FOR DISCUSSION ONLY-RIPRODUZIONE VIETATA </a:t>
            </a:r>
          </a:p>
        </p:txBody>
      </p:sp>
      <p:grpSp>
        <p:nvGrpSpPr>
          <p:cNvPr id="9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4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5" name="Group 61"/>
          <p:cNvGrpSpPr>
            <a:grpSpLocks/>
          </p:cNvGrpSpPr>
          <p:nvPr/>
        </p:nvGrpSpPr>
        <p:grpSpPr bwMode="auto">
          <a:xfrm>
            <a:off x="0" y="608027"/>
            <a:ext cx="9144000" cy="41275"/>
            <a:chOff x="0" y="1187350"/>
            <a:chExt cx="9144000" cy="40942"/>
          </a:xfrm>
        </p:grpSpPr>
        <p:cxnSp>
          <p:nvCxnSpPr>
            <p:cNvPr id="26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19378617">
            <a:off x="1266825" y="3198320"/>
            <a:ext cx="6724651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6000">
                <a:solidFill>
                  <a:srgbClr val="F2F2F2"/>
                </a:solidFill>
              </a:rPr>
              <a:t>RISERVATO</a:t>
            </a:r>
          </a:p>
        </p:txBody>
      </p:sp>
      <p:graphicFrame>
        <p:nvGraphicFramePr>
          <p:cNvPr id="29" name="Object 3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53" name="Diapositiva think-cell" r:id="rId9" imgW="360" imgH="360" progId="TCLayout.ActiveDocument.1">
                  <p:embed/>
                </p:oleObj>
              </mc:Choice>
              <mc:Fallback>
                <p:oleObj name="Diapositiva think-cell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413" y="-306388"/>
            <a:ext cx="8272463" cy="831851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046" y="1509714"/>
            <a:ext cx="8274051" cy="4613275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0590298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76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5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76292450-433A-4E5C-9DAD-9423C04F9754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sp>
        <p:nvSpPr>
          <p:cNvPr id="6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150442" y="73026"/>
            <a:ext cx="227947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900">
                <a:solidFill>
                  <a:srgbClr val="C41300"/>
                </a:solidFill>
              </a:rPr>
              <a:t>FOR DISCUSSION ONLY-RIPRODUZIONE VIETATA </a:t>
            </a:r>
          </a:p>
        </p:txBody>
      </p:sp>
      <p:grpSp>
        <p:nvGrpSpPr>
          <p:cNvPr id="7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8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3" name="Group 61"/>
          <p:cNvGrpSpPr>
            <a:grpSpLocks/>
          </p:cNvGrpSpPr>
          <p:nvPr/>
        </p:nvGrpSpPr>
        <p:grpSpPr bwMode="auto">
          <a:xfrm>
            <a:off x="0" y="608027"/>
            <a:ext cx="9144000" cy="41275"/>
            <a:chOff x="0" y="1187350"/>
            <a:chExt cx="9144000" cy="40942"/>
          </a:xfrm>
        </p:grpSpPr>
        <p:cxnSp>
          <p:nvCxnSpPr>
            <p:cNvPr id="24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19378617">
            <a:off x="1266825" y="3198320"/>
            <a:ext cx="6724651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6000">
                <a:solidFill>
                  <a:srgbClr val="F2F2F2"/>
                </a:solidFill>
              </a:rPr>
              <a:t>RISERVATO</a:t>
            </a:r>
          </a:p>
        </p:txBody>
      </p:sp>
      <p:graphicFrame>
        <p:nvGraphicFramePr>
          <p:cNvPr id="27" name="Object 2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77" name="Diapositiva think-cell" r:id="rId9" imgW="360" imgH="360" progId="TCLayout.ActiveDocument.1">
                  <p:embed/>
                </p:oleObj>
              </mc:Choice>
              <mc:Fallback>
                <p:oleObj name="Diapositiva think-cell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413" y="-306388"/>
            <a:ext cx="8272463" cy="831851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1376429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00" name="Diapositiva think-cell" r:id="rId5" imgW="360" imgH="360" progId="TCLayout.ActiveDocument.1">
                  <p:embed/>
                </p:oleObj>
              </mc:Choice>
              <mc:Fallback>
                <p:oleObj name="Diapositiva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5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59BC4B99-3B48-4C0E-AD7C-5356FBDC4706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grpSp>
        <p:nvGrpSpPr>
          <p:cNvPr id="7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8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3" name="Group 61"/>
          <p:cNvGrpSpPr>
            <a:grpSpLocks/>
          </p:cNvGrpSpPr>
          <p:nvPr/>
        </p:nvGrpSpPr>
        <p:grpSpPr bwMode="auto">
          <a:xfrm>
            <a:off x="0" y="608027"/>
            <a:ext cx="9144000" cy="41275"/>
            <a:chOff x="0" y="1187350"/>
            <a:chExt cx="9144000" cy="40942"/>
          </a:xfrm>
        </p:grpSpPr>
        <p:cxnSp>
          <p:nvCxnSpPr>
            <p:cNvPr id="24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7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01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2587475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4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01" name="Diapositiva think-cell" r:id="rId4" imgW="0" imgH="0" progId="TCLayout.ActiveDocument.1">
                  <p:embed/>
                </p:oleObj>
              </mc:Choice>
              <mc:Fallback>
                <p:oleObj name="Diapositiva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4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11"/>
          <p:cNvGrpSpPr>
            <a:grpSpLocks/>
          </p:cNvGrpSpPr>
          <p:nvPr/>
        </p:nvGrpSpPr>
        <p:grpSpPr bwMode="auto">
          <a:xfrm>
            <a:off x="4" y="6"/>
            <a:ext cx="3578225" cy="630239"/>
            <a:chOff x="0" y="-1"/>
            <a:chExt cx="3876673" cy="630746"/>
          </a:xfrm>
        </p:grpSpPr>
        <p:sp>
          <p:nvSpPr>
            <p:cNvPr id="7" name="Freeform 6"/>
            <p:cNvSpPr>
              <a:spLocks noChangeAspect="1"/>
            </p:cNvSpPr>
            <p:nvPr userDrawn="1"/>
          </p:nvSpPr>
          <p:spPr bwMode="auto">
            <a:xfrm rot="10800000">
              <a:off x="772239" y="-1"/>
              <a:ext cx="3104434" cy="630746"/>
            </a:xfrm>
            <a:custGeom>
              <a:avLst/>
              <a:gdLst/>
              <a:ahLst/>
              <a:cxnLst>
                <a:cxn ang="0">
                  <a:pos x="1196" y="0"/>
                </a:cxn>
                <a:cxn ang="0">
                  <a:pos x="236" y="0"/>
                </a:cxn>
                <a:cxn ang="0">
                  <a:pos x="0" y="212"/>
                </a:cxn>
                <a:cxn ang="0">
                  <a:pos x="1196" y="212"/>
                </a:cxn>
                <a:cxn ang="0">
                  <a:pos x="1196" y="0"/>
                </a:cxn>
              </a:cxnLst>
              <a:rect l="0" t="0" r="r" b="b"/>
              <a:pathLst>
                <a:path w="1196" h="212">
                  <a:moveTo>
                    <a:pt x="1196" y="0"/>
                  </a:moveTo>
                  <a:cubicBezTo>
                    <a:pt x="236" y="0"/>
                    <a:pt x="236" y="0"/>
                    <a:pt x="236" y="0"/>
                  </a:cubicBezTo>
                  <a:cubicBezTo>
                    <a:pt x="106" y="0"/>
                    <a:pt x="0" y="95"/>
                    <a:pt x="0" y="212"/>
                  </a:cubicBezTo>
                  <a:cubicBezTo>
                    <a:pt x="1196" y="212"/>
                    <a:pt x="1196" y="212"/>
                    <a:pt x="1196" y="212"/>
                  </a:cubicBezTo>
                  <a:lnTo>
                    <a:pt x="1196" y="0"/>
                  </a:lnTo>
                  <a:close/>
                </a:path>
              </a:pathLst>
            </a:custGeom>
            <a:solidFill>
              <a:srgbClr val="F4E6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000000"/>
                </a:solidFill>
              </a:endParaRPr>
            </a:p>
          </p:txBody>
        </p:sp>
        <p:sp>
          <p:nvSpPr>
            <p:cNvPr id="8" name="Freeform 6"/>
            <p:cNvSpPr>
              <a:spLocks noChangeAspect="1"/>
            </p:cNvSpPr>
            <p:nvPr userDrawn="1"/>
          </p:nvSpPr>
          <p:spPr bwMode="auto">
            <a:xfrm rot="10800000">
              <a:off x="0" y="-1"/>
              <a:ext cx="3104435" cy="630746"/>
            </a:xfrm>
            <a:custGeom>
              <a:avLst/>
              <a:gdLst/>
              <a:ahLst/>
              <a:cxnLst>
                <a:cxn ang="0">
                  <a:pos x="1196" y="0"/>
                </a:cxn>
                <a:cxn ang="0">
                  <a:pos x="236" y="0"/>
                </a:cxn>
                <a:cxn ang="0">
                  <a:pos x="0" y="212"/>
                </a:cxn>
                <a:cxn ang="0">
                  <a:pos x="1196" y="212"/>
                </a:cxn>
                <a:cxn ang="0">
                  <a:pos x="1196" y="0"/>
                </a:cxn>
              </a:cxnLst>
              <a:rect l="0" t="0" r="r" b="b"/>
              <a:pathLst>
                <a:path w="1196" h="212">
                  <a:moveTo>
                    <a:pt x="1196" y="0"/>
                  </a:moveTo>
                  <a:cubicBezTo>
                    <a:pt x="236" y="0"/>
                    <a:pt x="236" y="0"/>
                    <a:pt x="236" y="0"/>
                  </a:cubicBezTo>
                  <a:cubicBezTo>
                    <a:pt x="106" y="0"/>
                    <a:pt x="0" y="95"/>
                    <a:pt x="0" y="212"/>
                  </a:cubicBezTo>
                  <a:cubicBezTo>
                    <a:pt x="1196" y="212"/>
                    <a:pt x="1196" y="212"/>
                    <a:pt x="1196" y="212"/>
                  </a:cubicBezTo>
                  <a:lnTo>
                    <a:pt x="1196" y="0"/>
                  </a:lnTo>
                  <a:close/>
                </a:path>
              </a:pathLst>
            </a:custGeom>
            <a:solidFill>
              <a:srgbClr val="F4E6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9" name="Group 29"/>
          <p:cNvGrpSpPr/>
          <p:nvPr/>
        </p:nvGrpSpPr>
        <p:grpSpPr>
          <a:xfrm>
            <a:off x="302130" y="155582"/>
            <a:ext cx="2208793" cy="273051"/>
            <a:chOff x="4880233" y="981075"/>
            <a:chExt cx="1985052" cy="226515"/>
          </a:xfrm>
          <a:solidFill>
            <a:srgbClr val="FF0000"/>
          </a:solidFill>
        </p:grpSpPr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5643808" y="1045713"/>
              <a:ext cx="185718" cy="161877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/>
          </p:nvSpPr>
          <p:spPr bwMode="auto">
            <a:xfrm>
              <a:off x="4880233" y="983323"/>
              <a:ext cx="217990" cy="219770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5100659" y="1045713"/>
              <a:ext cx="200332" cy="161877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FFFFFF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5313169" y="1045713"/>
              <a:ext cx="166842" cy="161877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FFFFFF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/>
          </p:nvSpPr>
          <p:spPr bwMode="auto">
            <a:xfrm>
              <a:off x="5489754" y="1004682"/>
              <a:ext cx="137005" cy="202908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FFFFFF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auto">
            <a:xfrm>
              <a:off x="5854492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FFFFFF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/>
          </p:nvSpPr>
          <p:spPr bwMode="auto">
            <a:xfrm>
              <a:off x="5854492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FFFFFF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/>
          </p:nvSpPr>
          <p:spPr bwMode="auto">
            <a:xfrm>
              <a:off x="5912947" y="1006931"/>
              <a:ext cx="102906" cy="198411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FFFFFF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030467" y="1043465"/>
              <a:ext cx="149183" cy="161877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5"/>
            <p:cNvSpPr>
              <a:spLocks noChangeArrowheads="1"/>
            </p:cNvSpPr>
            <p:nvPr/>
          </p:nvSpPr>
          <p:spPr bwMode="auto">
            <a:xfrm>
              <a:off x="6211923" y="981075"/>
              <a:ext cx="31663" cy="219770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FFFFFF"/>
                </a:solidFill>
              </a:endParaRPr>
            </a:p>
          </p:txBody>
        </p:sp>
        <p:sp>
          <p:nvSpPr>
            <p:cNvPr id="20" name="Freeform 16"/>
            <p:cNvSpPr>
              <a:spLocks noEditPoints="1"/>
            </p:cNvSpPr>
            <p:nvPr/>
          </p:nvSpPr>
          <p:spPr bwMode="auto">
            <a:xfrm>
              <a:off x="6282557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FFFFFF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auto">
            <a:xfrm>
              <a:off x="6282557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FFFFFF"/>
                </a:solidFill>
              </a:endParaRPr>
            </a:p>
          </p:txBody>
        </p:sp>
        <p:sp>
          <p:nvSpPr>
            <p:cNvPr id="22" name="Freeform 18"/>
            <p:cNvSpPr>
              <a:spLocks noEditPoints="1"/>
            </p:cNvSpPr>
            <p:nvPr/>
          </p:nvSpPr>
          <p:spPr bwMode="auto">
            <a:xfrm>
              <a:off x="6348928" y="1043465"/>
              <a:ext cx="146139" cy="161877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FFFFFF"/>
                </a:solidFill>
              </a:endParaRPr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auto">
            <a:xfrm>
              <a:off x="6529775" y="1043465"/>
              <a:ext cx="151619" cy="157380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FFFFFF"/>
                </a:solidFill>
              </a:endParaRPr>
            </a:p>
          </p:txBody>
        </p:sp>
        <p:sp>
          <p:nvSpPr>
            <p:cNvPr id="24" name="Freeform 20"/>
            <p:cNvSpPr>
              <a:spLocks noEditPoints="1"/>
            </p:cNvSpPr>
            <p:nvPr/>
          </p:nvSpPr>
          <p:spPr bwMode="auto">
            <a:xfrm>
              <a:off x="6705750" y="1043465"/>
              <a:ext cx="159535" cy="161877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25" name="Picture 2" descr="Prima_footer-giallo-v42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4688" y="6180148"/>
            <a:ext cx="8469312" cy="677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Text Placeholder 48"/>
          <p:cNvSpPr>
            <a:spLocks noGrp="1"/>
          </p:cNvSpPr>
          <p:nvPr>
            <p:ph type="body" sz="quarter" idx="11"/>
          </p:nvPr>
        </p:nvSpPr>
        <p:spPr>
          <a:xfrm>
            <a:off x="250826" y="1700213"/>
            <a:ext cx="8569324" cy="2438400"/>
          </a:xfrm>
          <a:prstGeom prst="rect">
            <a:avLst/>
          </a:prstGeom>
        </p:spPr>
        <p:txBody>
          <a:bodyPr lIns="91429" tIns="45715" rIns="91429" bIns="45715"/>
          <a:lstStyle>
            <a:lvl1pPr algn="ctr">
              <a:defRPr sz="3000"/>
            </a:lvl1pPr>
          </a:lstStyle>
          <a:p>
            <a:pPr lvl="0"/>
            <a:r>
              <a:rPr lang="it-IT" noProof="0"/>
              <a:t>Fare clic per modificare stili del testo dello schema</a:t>
            </a:r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2"/>
          </p:nvPr>
        </p:nvSpPr>
        <p:spPr>
          <a:xfrm>
            <a:off x="1258963" y="3617937"/>
            <a:ext cx="6769100" cy="1755775"/>
          </a:xfrm>
          <a:prstGeom prst="rect">
            <a:avLst/>
          </a:prstGeom>
        </p:spPr>
        <p:txBody>
          <a:bodyPr lIns="91429" tIns="45715" rIns="91429" bIns="45715"/>
          <a:lstStyle>
            <a:lvl1pPr algn="ctr">
              <a:defRPr sz="1725" baseline="0"/>
            </a:lvl1pPr>
          </a:lstStyle>
          <a:p>
            <a:pPr lvl="0"/>
            <a:r>
              <a:rPr lang="it-IT" noProof="0"/>
              <a:t>Fare clic per modificare stili del testo dello schema</a:t>
            </a:r>
          </a:p>
        </p:txBody>
      </p:sp>
      <p:sp>
        <p:nvSpPr>
          <p:cNvPr id="53" name="Text Placeholder 52"/>
          <p:cNvSpPr>
            <a:spLocks noGrp="1"/>
          </p:cNvSpPr>
          <p:nvPr>
            <p:ph type="body" sz="quarter" idx="13"/>
          </p:nvPr>
        </p:nvSpPr>
        <p:spPr>
          <a:xfrm>
            <a:off x="4141252" y="6314523"/>
            <a:ext cx="5002823" cy="476251"/>
          </a:xfrm>
          <a:prstGeom prst="rect">
            <a:avLst/>
          </a:prstGeom>
        </p:spPr>
        <p:txBody>
          <a:bodyPr lIns="91429" tIns="45715" rIns="91429" bIns="45715"/>
          <a:lstStyle>
            <a:lvl1pPr algn="ctr">
              <a:defRPr i="1"/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10674184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48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9514125F-5EAB-4D5F-B8D0-F4C960DB664F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sp>
        <p:nvSpPr>
          <p:cNvPr id="8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150442" y="73026"/>
            <a:ext cx="227947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900">
                <a:solidFill>
                  <a:srgbClr val="C41300"/>
                </a:solidFill>
              </a:rPr>
              <a:t>FOR DISCUSSION ONLY-RIPRODUZIONE VIETATA </a:t>
            </a:r>
          </a:p>
        </p:txBody>
      </p:sp>
      <p:grpSp>
        <p:nvGrpSpPr>
          <p:cNvPr id="9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4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5" name="Group 61"/>
          <p:cNvGrpSpPr>
            <a:grpSpLocks/>
          </p:cNvGrpSpPr>
          <p:nvPr/>
        </p:nvGrpSpPr>
        <p:grpSpPr bwMode="auto">
          <a:xfrm>
            <a:off x="0" y="608027"/>
            <a:ext cx="9144000" cy="41275"/>
            <a:chOff x="0" y="1187350"/>
            <a:chExt cx="9144000" cy="40942"/>
          </a:xfrm>
        </p:grpSpPr>
        <p:cxnSp>
          <p:nvCxnSpPr>
            <p:cNvPr id="26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19378617">
            <a:off x="1266825" y="3198320"/>
            <a:ext cx="6724651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6000">
                <a:solidFill>
                  <a:srgbClr val="F2F2F2"/>
                </a:solidFill>
              </a:rPr>
              <a:t>RISERVATO</a:t>
            </a:r>
          </a:p>
        </p:txBody>
      </p:sp>
      <p:graphicFrame>
        <p:nvGraphicFramePr>
          <p:cNvPr id="29" name="Object 3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49" name="Diapositiva think-cell" r:id="rId9" imgW="360" imgH="360" progId="TCLayout.ActiveDocument.1">
                  <p:embed/>
                </p:oleObj>
              </mc:Choice>
              <mc:Fallback>
                <p:oleObj name="Diapositiva think-cell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413" y="-306388"/>
            <a:ext cx="8272463" cy="831851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046" y="1509714"/>
            <a:ext cx="8274051" cy="4613275"/>
          </a:xfrm>
          <a:prstGeom prst="rect">
            <a:avLst/>
          </a:prstGeom>
        </p:spPr>
        <p:txBody>
          <a:bodyPr lIns="91429" tIns="45715" rIns="91429" bIns="45715"/>
          <a:lstStyle>
            <a:lvl1pPr marL="172781" indent="-172781">
              <a:buFont typeface="Calibri" pitchFamily="34" charset="0"/>
              <a:buChar char="→"/>
              <a:defRPr b="0"/>
            </a:lvl1pPr>
            <a:lvl2pPr marL="342861" indent="-172781">
              <a:buFont typeface="Arial" pitchFamily="34" charset="0"/>
              <a:buChar char="•"/>
              <a:defRPr/>
            </a:lvl2pPr>
            <a:lvl3pPr marL="685722">
              <a:buFont typeface="Calibri" pitchFamily="34" charset="0"/>
              <a:buChar char="–"/>
              <a:defRPr/>
            </a:lvl3pPr>
            <a:lvl4pPr marL="1028584">
              <a:buFont typeface="Trebuchet MS" pitchFamily="34" charset="0"/>
              <a:buChar char="–"/>
              <a:defRPr/>
            </a:lvl4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</p:txBody>
      </p:sp>
    </p:spTree>
    <p:extLst>
      <p:ext uri="{BB962C8B-B14F-4D97-AF65-F5344CB8AC3E}">
        <p14:creationId xmlns:p14="http://schemas.microsoft.com/office/powerpoint/2010/main" val="300713315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72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4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6C19E20B-F481-4308-8DBF-BF8907B925A6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sp>
        <p:nvSpPr>
          <p:cNvPr id="5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150442" y="73026"/>
            <a:ext cx="227947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900">
                <a:solidFill>
                  <a:srgbClr val="C41300"/>
                </a:solidFill>
              </a:rPr>
              <a:t>FOR DISCUSSION ONLY-RIPRODUZIONE VIETATA </a:t>
            </a:r>
          </a:p>
        </p:txBody>
      </p:sp>
      <p:grpSp>
        <p:nvGrpSpPr>
          <p:cNvPr id="6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7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2" name="Group 61"/>
          <p:cNvGrpSpPr>
            <a:grpSpLocks/>
          </p:cNvGrpSpPr>
          <p:nvPr/>
        </p:nvGrpSpPr>
        <p:grpSpPr bwMode="auto">
          <a:xfrm>
            <a:off x="0" y="608027"/>
            <a:ext cx="9144000" cy="41275"/>
            <a:chOff x="0" y="1187350"/>
            <a:chExt cx="9144000" cy="40942"/>
          </a:xfrm>
        </p:grpSpPr>
        <p:cxnSp>
          <p:nvCxnSpPr>
            <p:cNvPr id="23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19378617">
            <a:off x="1266825" y="3198320"/>
            <a:ext cx="6724651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6000">
                <a:solidFill>
                  <a:srgbClr val="F2F2F2"/>
                </a:solidFill>
              </a:rPr>
              <a:t>RISERVATO</a:t>
            </a:r>
          </a:p>
        </p:txBody>
      </p:sp>
      <p:graphicFrame>
        <p:nvGraphicFramePr>
          <p:cNvPr id="26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73" name="Diapositiva think-cell" r:id="rId9" imgW="360" imgH="360" progId="TCLayout.ActiveDocument.1">
                  <p:embed/>
                </p:oleObj>
              </mc:Choice>
              <mc:Fallback>
                <p:oleObj name="Diapositiva think-cell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671260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0" y="145149"/>
            <a:ext cx="8274050" cy="385763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 sz="1350"/>
            </a:lvl1pPr>
          </a:lstStyle>
          <a:p>
            <a:r>
              <a:rPr lang="it-IT"/>
              <a:t>Fare clic per modificare lo stile del titolo</a:t>
            </a:r>
            <a:endParaRPr lang="fr-FR" dirty="0"/>
          </a:p>
        </p:txBody>
      </p:sp>
      <p:sp>
        <p:nvSpPr>
          <p:cNvPr id="9" name="Segnaposto testo 8"/>
          <p:cNvSpPr>
            <a:spLocks noGrp="1"/>
          </p:cNvSpPr>
          <p:nvPr>
            <p:ph type="body" sz="quarter" idx="11"/>
          </p:nvPr>
        </p:nvSpPr>
        <p:spPr>
          <a:xfrm>
            <a:off x="476268" y="1260919"/>
            <a:ext cx="8296275" cy="5372100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lnSpc>
                <a:spcPct val="120000"/>
              </a:lnSpc>
              <a:spcBef>
                <a:spcPts val="450"/>
              </a:spcBef>
              <a:defRPr sz="1050"/>
            </a:lvl1pPr>
            <a:lvl2pPr>
              <a:lnSpc>
                <a:spcPct val="120000"/>
              </a:lnSpc>
              <a:spcBef>
                <a:spcPts val="450"/>
              </a:spcBef>
              <a:defRPr sz="1050"/>
            </a:lvl2pPr>
            <a:lvl3pPr>
              <a:lnSpc>
                <a:spcPct val="120000"/>
              </a:lnSpc>
              <a:spcBef>
                <a:spcPts val="450"/>
              </a:spcBef>
              <a:defRPr sz="1050"/>
            </a:lvl3pPr>
            <a:lvl4pPr>
              <a:defRPr sz="1050"/>
            </a:lvl4pPr>
            <a:lvl5pPr>
              <a:defRPr sz="1350"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28148078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STD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1331086"/>
              </p:ext>
            </p:extLst>
          </p:nvPr>
        </p:nvGraphicFramePr>
        <p:xfrm>
          <a:off x="1192" y="1591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17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1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4, </a:t>
            </a:r>
            <a:r>
              <a:rPr lang="it-IT" dirty="0" err="1"/>
              <a:t>bold</a:t>
            </a:r>
            <a:r>
              <a:rPr lang="it-IT" dirty="0"/>
              <a:t>, maiuscolo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4"/>
          </p:nvPr>
        </p:nvSpPr>
        <p:spPr>
          <a:xfrm>
            <a:off x="278607" y="1016002"/>
            <a:ext cx="8586788" cy="5097463"/>
          </a:xfrm>
          <a:prstGeom prst="rect">
            <a:avLst/>
          </a:prstGeom>
          <a:ln w="25400" cap="rnd">
            <a:noFill/>
          </a:ln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707173"/>
              </a:buClr>
              <a:defRPr lang="it-IT" sz="1500" dirty="0" smtClean="0"/>
            </a:lvl1pPr>
            <a:lvl2pPr>
              <a:buClr>
                <a:srgbClr val="707173"/>
              </a:buClr>
              <a:defRPr lang="it-IT" sz="1350" dirty="0" smtClean="0"/>
            </a:lvl2pPr>
            <a:lvl3pPr marL="807244" indent="-121444">
              <a:buClr>
                <a:srgbClr val="707173"/>
              </a:buClr>
              <a:defRPr lang="it-IT" sz="1200" dirty="0" smtClean="0"/>
            </a:lvl3pPr>
            <a:lvl4pPr marL="1143000" indent="-114300">
              <a:buClr>
                <a:srgbClr val="707173"/>
              </a:buClr>
              <a:defRPr lang="it-IT" sz="1050" dirty="0" smtClean="0"/>
            </a:lvl4pPr>
            <a:lvl5pPr marL="1478756" indent="-107156">
              <a:buClr>
                <a:srgbClr val="707173"/>
              </a:buClr>
              <a:defRPr lang="it-IT" sz="1050" dirty="0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25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8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35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8659606" y="6500816"/>
            <a:ext cx="484394" cy="357187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614620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4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73" name="Diapositiva think-cell" r:id="rId4" imgW="0" imgH="0" progId="TCLayout.ActiveDocument.1">
                  <p:embed/>
                </p:oleObj>
              </mc:Choice>
              <mc:Fallback>
                <p:oleObj name="Diapositiva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4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11"/>
          <p:cNvGrpSpPr>
            <a:grpSpLocks/>
          </p:cNvGrpSpPr>
          <p:nvPr/>
        </p:nvGrpSpPr>
        <p:grpSpPr bwMode="auto">
          <a:xfrm>
            <a:off x="4" y="6"/>
            <a:ext cx="3578225" cy="630239"/>
            <a:chOff x="0" y="-1"/>
            <a:chExt cx="3876673" cy="630746"/>
          </a:xfrm>
        </p:grpSpPr>
        <p:sp>
          <p:nvSpPr>
            <p:cNvPr id="7" name="Freeform 6"/>
            <p:cNvSpPr>
              <a:spLocks noChangeAspect="1"/>
            </p:cNvSpPr>
            <p:nvPr userDrawn="1"/>
          </p:nvSpPr>
          <p:spPr bwMode="auto">
            <a:xfrm rot="10800000">
              <a:off x="772239" y="-1"/>
              <a:ext cx="3104434" cy="630746"/>
            </a:xfrm>
            <a:custGeom>
              <a:avLst/>
              <a:gdLst/>
              <a:ahLst/>
              <a:cxnLst>
                <a:cxn ang="0">
                  <a:pos x="1196" y="0"/>
                </a:cxn>
                <a:cxn ang="0">
                  <a:pos x="236" y="0"/>
                </a:cxn>
                <a:cxn ang="0">
                  <a:pos x="0" y="212"/>
                </a:cxn>
                <a:cxn ang="0">
                  <a:pos x="1196" y="212"/>
                </a:cxn>
                <a:cxn ang="0">
                  <a:pos x="1196" y="0"/>
                </a:cxn>
              </a:cxnLst>
              <a:rect l="0" t="0" r="r" b="b"/>
              <a:pathLst>
                <a:path w="1196" h="212">
                  <a:moveTo>
                    <a:pt x="1196" y="0"/>
                  </a:moveTo>
                  <a:cubicBezTo>
                    <a:pt x="236" y="0"/>
                    <a:pt x="236" y="0"/>
                    <a:pt x="236" y="0"/>
                  </a:cubicBezTo>
                  <a:cubicBezTo>
                    <a:pt x="106" y="0"/>
                    <a:pt x="0" y="95"/>
                    <a:pt x="0" y="212"/>
                  </a:cubicBezTo>
                  <a:cubicBezTo>
                    <a:pt x="1196" y="212"/>
                    <a:pt x="1196" y="212"/>
                    <a:pt x="1196" y="212"/>
                  </a:cubicBezTo>
                  <a:lnTo>
                    <a:pt x="1196" y="0"/>
                  </a:lnTo>
                  <a:close/>
                </a:path>
              </a:pathLst>
            </a:custGeom>
            <a:solidFill>
              <a:srgbClr val="F4E6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000000"/>
                </a:solidFill>
              </a:endParaRPr>
            </a:p>
          </p:txBody>
        </p:sp>
        <p:sp>
          <p:nvSpPr>
            <p:cNvPr id="8" name="Freeform 6"/>
            <p:cNvSpPr>
              <a:spLocks noChangeAspect="1"/>
            </p:cNvSpPr>
            <p:nvPr userDrawn="1"/>
          </p:nvSpPr>
          <p:spPr bwMode="auto">
            <a:xfrm rot="10800000">
              <a:off x="0" y="-1"/>
              <a:ext cx="3104435" cy="630746"/>
            </a:xfrm>
            <a:custGeom>
              <a:avLst/>
              <a:gdLst/>
              <a:ahLst/>
              <a:cxnLst>
                <a:cxn ang="0">
                  <a:pos x="1196" y="0"/>
                </a:cxn>
                <a:cxn ang="0">
                  <a:pos x="236" y="0"/>
                </a:cxn>
                <a:cxn ang="0">
                  <a:pos x="0" y="212"/>
                </a:cxn>
                <a:cxn ang="0">
                  <a:pos x="1196" y="212"/>
                </a:cxn>
                <a:cxn ang="0">
                  <a:pos x="1196" y="0"/>
                </a:cxn>
              </a:cxnLst>
              <a:rect l="0" t="0" r="r" b="b"/>
              <a:pathLst>
                <a:path w="1196" h="212">
                  <a:moveTo>
                    <a:pt x="1196" y="0"/>
                  </a:moveTo>
                  <a:cubicBezTo>
                    <a:pt x="236" y="0"/>
                    <a:pt x="236" y="0"/>
                    <a:pt x="236" y="0"/>
                  </a:cubicBezTo>
                  <a:cubicBezTo>
                    <a:pt x="106" y="0"/>
                    <a:pt x="0" y="95"/>
                    <a:pt x="0" y="212"/>
                  </a:cubicBezTo>
                  <a:cubicBezTo>
                    <a:pt x="1196" y="212"/>
                    <a:pt x="1196" y="212"/>
                    <a:pt x="1196" y="212"/>
                  </a:cubicBezTo>
                  <a:lnTo>
                    <a:pt x="1196" y="0"/>
                  </a:lnTo>
                  <a:close/>
                </a:path>
              </a:pathLst>
            </a:custGeom>
            <a:solidFill>
              <a:srgbClr val="F4E6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000000"/>
                </a:solidFill>
              </a:endParaRPr>
            </a:p>
          </p:txBody>
        </p:sp>
      </p:grpSp>
      <p:grpSp>
        <p:nvGrpSpPr>
          <p:cNvPr id="9" name="Group 29"/>
          <p:cNvGrpSpPr/>
          <p:nvPr/>
        </p:nvGrpSpPr>
        <p:grpSpPr>
          <a:xfrm>
            <a:off x="302130" y="155582"/>
            <a:ext cx="2208793" cy="273051"/>
            <a:chOff x="4880233" y="981075"/>
            <a:chExt cx="1985052" cy="226515"/>
          </a:xfrm>
          <a:solidFill>
            <a:srgbClr val="FF0000"/>
          </a:solidFill>
        </p:grpSpPr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5643808" y="1045713"/>
              <a:ext cx="185718" cy="161877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/>
          </p:nvSpPr>
          <p:spPr bwMode="auto">
            <a:xfrm>
              <a:off x="4880233" y="983323"/>
              <a:ext cx="217990" cy="219770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5100659" y="1045713"/>
              <a:ext cx="200332" cy="161877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5313169" y="1045713"/>
              <a:ext cx="166842" cy="161877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/>
          </p:nvSpPr>
          <p:spPr bwMode="auto">
            <a:xfrm>
              <a:off x="5489754" y="1004682"/>
              <a:ext cx="137005" cy="202908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auto">
            <a:xfrm>
              <a:off x="5854492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/>
          </p:nvSpPr>
          <p:spPr bwMode="auto">
            <a:xfrm>
              <a:off x="5854492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/>
          </p:nvSpPr>
          <p:spPr bwMode="auto">
            <a:xfrm>
              <a:off x="5912947" y="1006931"/>
              <a:ext cx="102906" cy="198411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030467" y="1043465"/>
              <a:ext cx="149183" cy="161877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Rectangle 15"/>
            <p:cNvSpPr>
              <a:spLocks noChangeArrowheads="1"/>
            </p:cNvSpPr>
            <p:nvPr/>
          </p:nvSpPr>
          <p:spPr bwMode="auto">
            <a:xfrm>
              <a:off x="6211923" y="981075"/>
              <a:ext cx="31663" cy="219770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6"/>
            <p:cNvSpPr>
              <a:spLocks noEditPoints="1"/>
            </p:cNvSpPr>
            <p:nvPr/>
          </p:nvSpPr>
          <p:spPr bwMode="auto">
            <a:xfrm>
              <a:off x="6282557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auto">
            <a:xfrm>
              <a:off x="6282557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8"/>
            <p:cNvSpPr>
              <a:spLocks noEditPoints="1"/>
            </p:cNvSpPr>
            <p:nvPr/>
          </p:nvSpPr>
          <p:spPr bwMode="auto">
            <a:xfrm>
              <a:off x="6348928" y="1043465"/>
              <a:ext cx="146139" cy="161877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auto">
            <a:xfrm>
              <a:off x="6529775" y="1043465"/>
              <a:ext cx="151619" cy="157380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4" name="Freeform 20"/>
            <p:cNvSpPr>
              <a:spLocks noEditPoints="1"/>
            </p:cNvSpPr>
            <p:nvPr/>
          </p:nvSpPr>
          <p:spPr bwMode="auto">
            <a:xfrm>
              <a:off x="6705750" y="1043465"/>
              <a:ext cx="159535" cy="161877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pic>
        <p:nvPicPr>
          <p:cNvPr id="25" name="Picture 2" descr="Prima_footer-giallo-v42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4688" y="6180148"/>
            <a:ext cx="8469312" cy="677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Text Placeholder 48"/>
          <p:cNvSpPr>
            <a:spLocks noGrp="1"/>
          </p:cNvSpPr>
          <p:nvPr>
            <p:ph type="body" sz="quarter" idx="11"/>
          </p:nvPr>
        </p:nvSpPr>
        <p:spPr>
          <a:xfrm>
            <a:off x="250826" y="1700213"/>
            <a:ext cx="8569324" cy="2438400"/>
          </a:xfrm>
          <a:prstGeom prst="rect">
            <a:avLst/>
          </a:prstGeom>
        </p:spPr>
        <p:txBody>
          <a:bodyPr lIns="91429" tIns="45715" rIns="91429" bIns="45715"/>
          <a:lstStyle>
            <a:lvl1pPr algn="ctr">
              <a:defRPr sz="3000"/>
            </a:lvl1pPr>
          </a:lstStyle>
          <a:p>
            <a:pPr lvl="0"/>
            <a:r>
              <a:rPr lang="it-IT" noProof="0"/>
              <a:t>Fare clic per modificare stili del testo dello schema</a:t>
            </a:r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2"/>
          </p:nvPr>
        </p:nvSpPr>
        <p:spPr>
          <a:xfrm>
            <a:off x="1258918" y="3617931"/>
            <a:ext cx="6769100" cy="1755775"/>
          </a:xfrm>
          <a:prstGeom prst="rect">
            <a:avLst/>
          </a:prstGeom>
        </p:spPr>
        <p:txBody>
          <a:bodyPr lIns="91429" tIns="45715" rIns="91429" bIns="45715"/>
          <a:lstStyle>
            <a:lvl1pPr algn="ctr">
              <a:defRPr sz="1725" baseline="0"/>
            </a:lvl1pPr>
          </a:lstStyle>
          <a:p>
            <a:pPr lvl="0"/>
            <a:r>
              <a:rPr lang="it-IT" noProof="0"/>
              <a:t>Fare clic per modificare stili del testo dello schema</a:t>
            </a:r>
          </a:p>
        </p:txBody>
      </p:sp>
      <p:sp>
        <p:nvSpPr>
          <p:cNvPr id="53" name="Text Placeholder 52"/>
          <p:cNvSpPr>
            <a:spLocks noGrp="1"/>
          </p:cNvSpPr>
          <p:nvPr>
            <p:ph type="body" sz="quarter" idx="13"/>
          </p:nvPr>
        </p:nvSpPr>
        <p:spPr>
          <a:xfrm>
            <a:off x="4141183" y="6314523"/>
            <a:ext cx="5002823" cy="476251"/>
          </a:xfrm>
          <a:prstGeom prst="rect">
            <a:avLst/>
          </a:prstGeom>
        </p:spPr>
        <p:txBody>
          <a:bodyPr lIns="91429" tIns="45715" rIns="91429" bIns="45715"/>
          <a:lstStyle>
            <a:lvl1pPr algn="ctr">
              <a:defRPr i="1"/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6468651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20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8C771F98-2C10-4063-8A97-4A7610DA467A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sp>
        <p:nvSpPr>
          <p:cNvPr id="8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150442" y="73026"/>
            <a:ext cx="227947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900">
                <a:solidFill>
                  <a:srgbClr val="C41300"/>
                </a:solidFill>
              </a:rPr>
              <a:t>FOR DISCUSSION ONLY-RIPRODUZIONE VIETATA </a:t>
            </a:r>
          </a:p>
        </p:txBody>
      </p:sp>
      <p:grpSp>
        <p:nvGrpSpPr>
          <p:cNvPr id="9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4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5" name="Group 61"/>
          <p:cNvGrpSpPr>
            <a:grpSpLocks/>
          </p:cNvGrpSpPr>
          <p:nvPr/>
        </p:nvGrpSpPr>
        <p:grpSpPr bwMode="auto">
          <a:xfrm>
            <a:off x="0" y="608027"/>
            <a:ext cx="9144000" cy="41275"/>
            <a:chOff x="0" y="1187350"/>
            <a:chExt cx="9144000" cy="40942"/>
          </a:xfrm>
        </p:grpSpPr>
        <p:cxnSp>
          <p:nvCxnSpPr>
            <p:cNvPr id="26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19378617">
            <a:off x="1266825" y="3198320"/>
            <a:ext cx="6724651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6000">
                <a:solidFill>
                  <a:srgbClr val="F2F2F2"/>
                </a:solidFill>
              </a:rPr>
              <a:t>RISERVATO</a:t>
            </a:r>
          </a:p>
        </p:txBody>
      </p:sp>
      <p:graphicFrame>
        <p:nvGraphicFramePr>
          <p:cNvPr id="29" name="Object 3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21" name="Diapositiva think-cell" r:id="rId9" imgW="360" imgH="360" progId="TCLayout.ActiveDocument.1">
                  <p:embed/>
                </p:oleObj>
              </mc:Choice>
              <mc:Fallback>
                <p:oleObj name="Diapositiva think-cell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413" y="-306388"/>
            <a:ext cx="8272463" cy="831851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007" y="1509714"/>
            <a:ext cx="8274051" cy="4613275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76871442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44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CCEB146D-9B7E-4E39-A0A3-71A8E4D576EF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sp>
        <p:nvSpPr>
          <p:cNvPr id="8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150442" y="73026"/>
            <a:ext cx="227947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900">
                <a:solidFill>
                  <a:srgbClr val="C41300"/>
                </a:solidFill>
              </a:rPr>
              <a:t>FOR DISCUSSION ONLY-RIPRODUZIONE VIETATA </a:t>
            </a:r>
          </a:p>
        </p:txBody>
      </p:sp>
      <p:grpSp>
        <p:nvGrpSpPr>
          <p:cNvPr id="9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4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5" name="Group 61"/>
          <p:cNvGrpSpPr>
            <a:grpSpLocks/>
          </p:cNvGrpSpPr>
          <p:nvPr/>
        </p:nvGrpSpPr>
        <p:grpSpPr bwMode="auto">
          <a:xfrm>
            <a:off x="0" y="608027"/>
            <a:ext cx="9144000" cy="41275"/>
            <a:chOff x="0" y="1187350"/>
            <a:chExt cx="9144000" cy="40942"/>
          </a:xfrm>
        </p:grpSpPr>
        <p:cxnSp>
          <p:nvCxnSpPr>
            <p:cNvPr id="26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19378617">
            <a:off x="1266825" y="3198320"/>
            <a:ext cx="6724651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6000">
                <a:solidFill>
                  <a:srgbClr val="F2F2F2"/>
                </a:solidFill>
              </a:rPr>
              <a:t>RISERVATO</a:t>
            </a:r>
          </a:p>
        </p:txBody>
      </p:sp>
      <p:graphicFrame>
        <p:nvGraphicFramePr>
          <p:cNvPr id="29" name="Object 3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45" name="Diapositiva think-cell" r:id="rId9" imgW="360" imgH="360" progId="TCLayout.ActiveDocument.1">
                  <p:embed/>
                </p:oleObj>
              </mc:Choice>
              <mc:Fallback>
                <p:oleObj name="Diapositiva think-cell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413" y="-306388"/>
            <a:ext cx="8272463" cy="831851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007" y="1509714"/>
            <a:ext cx="8274051" cy="4613275"/>
          </a:xfrm>
          <a:prstGeom prst="rect">
            <a:avLst/>
          </a:prstGeom>
        </p:spPr>
        <p:txBody>
          <a:bodyPr lIns="91429" tIns="45715" rIns="91429" bIns="45715"/>
          <a:lstStyle>
            <a:lvl1pPr marL="172781" indent="-172781">
              <a:buFont typeface="Calibri" pitchFamily="34" charset="0"/>
              <a:buChar char="→"/>
              <a:defRPr b="0"/>
            </a:lvl1pPr>
            <a:lvl2pPr marL="342861" indent="-172781">
              <a:buFont typeface="Arial" pitchFamily="34" charset="0"/>
              <a:buChar char="•"/>
              <a:defRPr/>
            </a:lvl2pPr>
            <a:lvl3pPr marL="685722">
              <a:buFont typeface="Calibri" pitchFamily="34" charset="0"/>
              <a:buChar char="–"/>
              <a:defRPr/>
            </a:lvl3pPr>
            <a:lvl4pPr marL="1028584">
              <a:buFont typeface="Trebuchet MS" pitchFamily="34" charset="0"/>
              <a:buChar char="–"/>
              <a:defRPr/>
            </a:lvl4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</p:txBody>
      </p:sp>
    </p:spTree>
    <p:extLst>
      <p:ext uri="{BB962C8B-B14F-4D97-AF65-F5344CB8AC3E}">
        <p14:creationId xmlns:p14="http://schemas.microsoft.com/office/powerpoint/2010/main" val="337075463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4476" y="40341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356571895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6" name="Rectangle 34"/>
          <p:cNvSpPr>
            <a:spLocks noGrp="1" noChangeArrowheads="1"/>
          </p:cNvSpPr>
          <p:nvPr>
            <p:ph type="ctrTitle"/>
          </p:nvPr>
        </p:nvSpPr>
        <p:spPr>
          <a:xfrm>
            <a:off x="250827" y="1700213"/>
            <a:ext cx="8569325" cy="2438400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ct val="50000"/>
              </a:spcBef>
              <a:defRPr sz="3000">
                <a:latin typeface="Arial Black" pitchFamily="34" charset="0"/>
              </a:defRPr>
            </a:lvl1pPr>
          </a:lstStyle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111" name="Rectangle 39"/>
          <p:cNvSpPr>
            <a:spLocks noGrp="1" noChangeArrowheads="1"/>
          </p:cNvSpPr>
          <p:nvPr>
            <p:ph type="subTitle" idx="1"/>
          </p:nvPr>
        </p:nvSpPr>
        <p:spPr>
          <a:xfrm>
            <a:off x="1258888" y="3617917"/>
            <a:ext cx="6769100" cy="175577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ct val="50000"/>
              </a:spcBef>
              <a:buFontTx/>
              <a:buNone/>
              <a:defRPr sz="1800" b="1"/>
            </a:lvl1pPr>
          </a:lstStyle>
          <a:p>
            <a:r>
              <a:rPr lang="it-IT"/>
              <a:t>Fare clic per modificare lo stile del sottotitolo dello schem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849395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ICE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574432" y="142878"/>
            <a:ext cx="7959969" cy="587375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583660" y="1415372"/>
            <a:ext cx="7928791" cy="4525963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>
              <a:buSzPct val="55000"/>
              <a:defRPr sz="1500" b="1" i="1" baseline="0">
                <a:solidFill>
                  <a:schemeClr val="bg1"/>
                </a:solidFill>
              </a:defRPr>
            </a:lvl1pPr>
            <a:lvl2pPr>
              <a:defRPr sz="1350" i="1"/>
            </a:lvl2pPr>
            <a:lvl3pPr>
              <a:defRPr sz="1350" i="1"/>
            </a:lvl3pPr>
            <a:lvl4pPr>
              <a:defRPr sz="1350" i="1"/>
            </a:lvl4pPr>
            <a:lvl5pPr>
              <a:defRPr sz="1350" i="1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21207315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AutoShape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4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57" name="Diapositiva think-cell" r:id="rId4" imgW="0" imgH="0" progId="TCLayout.ActiveDocument.1">
                  <p:embed/>
                </p:oleObj>
              </mc:Choice>
              <mc:Fallback>
                <p:oleObj name="Diapositiva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4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11"/>
          <p:cNvGrpSpPr>
            <a:grpSpLocks/>
          </p:cNvGrpSpPr>
          <p:nvPr/>
        </p:nvGrpSpPr>
        <p:grpSpPr bwMode="auto">
          <a:xfrm>
            <a:off x="4" y="6"/>
            <a:ext cx="3578225" cy="630239"/>
            <a:chOff x="0" y="-1"/>
            <a:chExt cx="3876673" cy="630746"/>
          </a:xfrm>
        </p:grpSpPr>
        <p:sp>
          <p:nvSpPr>
            <p:cNvPr id="7" name="Freeform 6"/>
            <p:cNvSpPr>
              <a:spLocks noChangeAspect="1"/>
            </p:cNvSpPr>
            <p:nvPr userDrawn="1"/>
          </p:nvSpPr>
          <p:spPr bwMode="auto">
            <a:xfrm rot="10800000">
              <a:off x="772239" y="-1"/>
              <a:ext cx="3104434" cy="630746"/>
            </a:xfrm>
            <a:custGeom>
              <a:avLst/>
              <a:gdLst/>
              <a:ahLst/>
              <a:cxnLst>
                <a:cxn ang="0">
                  <a:pos x="1196" y="0"/>
                </a:cxn>
                <a:cxn ang="0">
                  <a:pos x="236" y="0"/>
                </a:cxn>
                <a:cxn ang="0">
                  <a:pos x="0" y="212"/>
                </a:cxn>
                <a:cxn ang="0">
                  <a:pos x="1196" y="212"/>
                </a:cxn>
                <a:cxn ang="0">
                  <a:pos x="1196" y="0"/>
                </a:cxn>
              </a:cxnLst>
              <a:rect l="0" t="0" r="r" b="b"/>
              <a:pathLst>
                <a:path w="1196" h="212">
                  <a:moveTo>
                    <a:pt x="1196" y="0"/>
                  </a:moveTo>
                  <a:cubicBezTo>
                    <a:pt x="236" y="0"/>
                    <a:pt x="236" y="0"/>
                    <a:pt x="236" y="0"/>
                  </a:cubicBezTo>
                  <a:cubicBezTo>
                    <a:pt x="106" y="0"/>
                    <a:pt x="0" y="95"/>
                    <a:pt x="0" y="212"/>
                  </a:cubicBezTo>
                  <a:cubicBezTo>
                    <a:pt x="1196" y="212"/>
                    <a:pt x="1196" y="212"/>
                    <a:pt x="1196" y="212"/>
                  </a:cubicBezTo>
                  <a:lnTo>
                    <a:pt x="1196" y="0"/>
                  </a:lnTo>
                  <a:close/>
                </a:path>
              </a:pathLst>
            </a:custGeom>
            <a:solidFill>
              <a:srgbClr val="F4E6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000000"/>
                </a:solidFill>
              </a:endParaRPr>
            </a:p>
          </p:txBody>
        </p:sp>
        <p:sp>
          <p:nvSpPr>
            <p:cNvPr id="8" name="Freeform 6"/>
            <p:cNvSpPr>
              <a:spLocks noChangeAspect="1"/>
            </p:cNvSpPr>
            <p:nvPr userDrawn="1"/>
          </p:nvSpPr>
          <p:spPr bwMode="auto">
            <a:xfrm rot="10800000">
              <a:off x="0" y="-1"/>
              <a:ext cx="3104435" cy="630746"/>
            </a:xfrm>
            <a:custGeom>
              <a:avLst/>
              <a:gdLst/>
              <a:ahLst/>
              <a:cxnLst>
                <a:cxn ang="0">
                  <a:pos x="1196" y="0"/>
                </a:cxn>
                <a:cxn ang="0">
                  <a:pos x="236" y="0"/>
                </a:cxn>
                <a:cxn ang="0">
                  <a:pos x="0" y="212"/>
                </a:cxn>
                <a:cxn ang="0">
                  <a:pos x="1196" y="212"/>
                </a:cxn>
                <a:cxn ang="0">
                  <a:pos x="1196" y="0"/>
                </a:cxn>
              </a:cxnLst>
              <a:rect l="0" t="0" r="r" b="b"/>
              <a:pathLst>
                <a:path w="1196" h="212">
                  <a:moveTo>
                    <a:pt x="1196" y="0"/>
                  </a:moveTo>
                  <a:cubicBezTo>
                    <a:pt x="236" y="0"/>
                    <a:pt x="236" y="0"/>
                    <a:pt x="236" y="0"/>
                  </a:cubicBezTo>
                  <a:cubicBezTo>
                    <a:pt x="106" y="0"/>
                    <a:pt x="0" y="95"/>
                    <a:pt x="0" y="212"/>
                  </a:cubicBezTo>
                  <a:cubicBezTo>
                    <a:pt x="1196" y="212"/>
                    <a:pt x="1196" y="212"/>
                    <a:pt x="1196" y="212"/>
                  </a:cubicBezTo>
                  <a:lnTo>
                    <a:pt x="1196" y="0"/>
                  </a:lnTo>
                  <a:close/>
                </a:path>
              </a:pathLst>
            </a:custGeom>
            <a:solidFill>
              <a:srgbClr val="F4E6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000000"/>
                </a:solidFill>
              </a:endParaRPr>
            </a:p>
          </p:txBody>
        </p:sp>
      </p:grpSp>
      <p:grpSp>
        <p:nvGrpSpPr>
          <p:cNvPr id="9" name="Group 29"/>
          <p:cNvGrpSpPr/>
          <p:nvPr/>
        </p:nvGrpSpPr>
        <p:grpSpPr>
          <a:xfrm>
            <a:off x="302147" y="155582"/>
            <a:ext cx="2208793" cy="273051"/>
            <a:chOff x="4880233" y="981075"/>
            <a:chExt cx="1985052" cy="226515"/>
          </a:xfrm>
          <a:solidFill>
            <a:srgbClr val="FF0000"/>
          </a:solidFill>
        </p:grpSpPr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5643808" y="1045713"/>
              <a:ext cx="185718" cy="161877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/>
          </p:nvSpPr>
          <p:spPr bwMode="auto">
            <a:xfrm>
              <a:off x="4880233" y="983323"/>
              <a:ext cx="217990" cy="219770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5100659" y="1045713"/>
              <a:ext cx="200332" cy="161877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5313169" y="1045713"/>
              <a:ext cx="166842" cy="161877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/>
          </p:nvSpPr>
          <p:spPr bwMode="auto">
            <a:xfrm>
              <a:off x="5489754" y="1004682"/>
              <a:ext cx="137005" cy="202908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auto">
            <a:xfrm>
              <a:off x="5854492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/>
          </p:nvSpPr>
          <p:spPr bwMode="auto">
            <a:xfrm>
              <a:off x="5854492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/>
          </p:nvSpPr>
          <p:spPr bwMode="auto">
            <a:xfrm>
              <a:off x="5912947" y="1006931"/>
              <a:ext cx="102906" cy="198411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030467" y="1043465"/>
              <a:ext cx="149183" cy="161877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Rectangle 15"/>
            <p:cNvSpPr>
              <a:spLocks noChangeArrowheads="1"/>
            </p:cNvSpPr>
            <p:nvPr/>
          </p:nvSpPr>
          <p:spPr bwMode="auto">
            <a:xfrm>
              <a:off x="6211923" y="981075"/>
              <a:ext cx="31663" cy="219770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6"/>
            <p:cNvSpPr>
              <a:spLocks noEditPoints="1"/>
            </p:cNvSpPr>
            <p:nvPr/>
          </p:nvSpPr>
          <p:spPr bwMode="auto">
            <a:xfrm>
              <a:off x="6282557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auto">
            <a:xfrm>
              <a:off x="6282557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8"/>
            <p:cNvSpPr>
              <a:spLocks noEditPoints="1"/>
            </p:cNvSpPr>
            <p:nvPr/>
          </p:nvSpPr>
          <p:spPr bwMode="auto">
            <a:xfrm>
              <a:off x="6348928" y="1043465"/>
              <a:ext cx="146139" cy="161877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auto">
            <a:xfrm>
              <a:off x="6529775" y="1043465"/>
              <a:ext cx="151619" cy="157380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4" name="Freeform 20"/>
            <p:cNvSpPr>
              <a:spLocks noEditPoints="1"/>
            </p:cNvSpPr>
            <p:nvPr/>
          </p:nvSpPr>
          <p:spPr bwMode="auto">
            <a:xfrm>
              <a:off x="6705750" y="1043465"/>
              <a:ext cx="159535" cy="161877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pic>
        <p:nvPicPr>
          <p:cNvPr id="25" name="Picture 2" descr="Prima_footer-giallo-v42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6282" y="6180148"/>
            <a:ext cx="8467725" cy="677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Text Placeholder 48"/>
          <p:cNvSpPr>
            <a:spLocks noGrp="1"/>
          </p:cNvSpPr>
          <p:nvPr>
            <p:ph type="body" sz="quarter" idx="11"/>
          </p:nvPr>
        </p:nvSpPr>
        <p:spPr>
          <a:xfrm>
            <a:off x="250826" y="1700213"/>
            <a:ext cx="8569324" cy="2438400"/>
          </a:xfrm>
          <a:prstGeom prst="rect">
            <a:avLst/>
          </a:prstGeom>
        </p:spPr>
        <p:txBody>
          <a:bodyPr lIns="91429" tIns="45715" rIns="91429" bIns="45715"/>
          <a:lstStyle>
            <a:lvl1pPr algn="ctr">
              <a:defRPr sz="3000"/>
            </a:lvl1pPr>
          </a:lstStyle>
          <a:p>
            <a:pPr lvl="0"/>
            <a:r>
              <a:rPr lang="it-IT" noProof="0"/>
              <a:t>Fare clic per modificare stili del testo dello schema</a:t>
            </a:r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2"/>
          </p:nvPr>
        </p:nvSpPr>
        <p:spPr>
          <a:xfrm>
            <a:off x="1258987" y="3617951"/>
            <a:ext cx="6769100" cy="1755775"/>
          </a:xfrm>
          <a:prstGeom prst="rect">
            <a:avLst/>
          </a:prstGeom>
        </p:spPr>
        <p:txBody>
          <a:bodyPr lIns="91429" tIns="45715" rIns="91429" bIns="45715"/>
          <a:lstStyle>
            <a:lvl1pPr algn="ctr">
              <a:defRPr sz="1725" baseline="0"/>
            </a:lvl1pPr>
          </a:lstStyle>
          <a:p>
            <a:pPr lvl="0"/>
            <a:r>
              <a:rPr lang="it-IT" noProof="0"/>
              <a:t>Fare clic per modificare stili del testo dello schema</a:t>
            </a:r>
          </a:p>
        </p:txBody>
      </p:sp>
      <p:sp>
        <p:nvSpPr>
          <p:cNvPr id="53" name="Text Placeholder 52"/>
          <p:cNvSpPr>
            <a:spLocks noGrp="1"/>
          </p:cNvSpPr>
          <p:nvPr>
            <p:ph type="body" sz="quarter" idx="13"/>
          </p:nvPr>
        </p:nvSpPr>
        <p:spPr>
          <a:xfrm>
            <a:off x="4141268" y="6314523"/>
            <a:ext cx="5002823" cy="476251"/>
          </a:xfrm>
          <a:prstGeom prst="rect">
            <a:avLst/>
          </a:prstGeom>
        </p:spPr>
        <p:txBody>
          <a:bodyPr lIns="91429" tIns="45715" rIns="91429" bIns="45715"/>
          <a:lstStyle>
            <a:lvl1pPr algn="ctr">
              <a:defRPr i="1"/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77831470"/>
      </p:ext>
    </p:extLst>
  </p:cSld>
  <p:clrMapOvr>
    <a:masterClrMapping/>
  </p:clrMapOvr>
  <p:transition spd="slow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92" name="Diapositiva think-cell" r:id="rId5" imgW="360" imgH="360" progId="TCLayout.ActiveDocument.1">
                  <p:embed/>
                </p:oleObj>
              </mc:Choice>
              <mc:Fallback>
                <p:oleObj name="Diapositiva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F58984A2-E4CE-4B09-BD4E-9D49896D0289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grpSp>
        <p:nvGrpSpPr>
          <p:cNvPr id="8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4" name="Group 61"/>
          <p:cNvGrpSpPr>
            <a:grpSpLocks/>
          </p:cNvGrpSpPr>
          <p:nvPr/>
        </p:nvGrpSpPr>
        <p:grpSpPr bwMode="auto">
          <a:xfrm>
            <a:off x="0" y="971556"/>
            <a:ext cx="9144000" cy="41275"/>
            <a:chOff x="0" y="1187350"/>
            <a:chExt cx="9144000" cy="40942"/>
          </a:xfrm>
        </p:grpSpPr>
        <p:cxnSp>
          <p:nvCxnSpPr>
            <p:cNvPr id="25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7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93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62535192"/>
      </p:ext>
    </p:extLst>
  </p:cSld>
  <p:clrMapOvr>
    <a:masterClrMapping/>
  </p:clrMapOvr>
  <p:transition spd="slow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16" name="Diapositiva think-cell" r:id="rId5" imgW="360" imgH="360" progId="TCLayout.ActiveDocument.1">
                  <p:embed/>
                </p:oleObj>
              </mc:Choice>
              <mc:Fallback>
                <p:oleObj name="Diapositiva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D0558627-9C24-48B8-AE91-F8ABFC95D8D9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grpSp>
        <p:nvGrpSpPr>
          <p:cNvPr id="8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4" name="Group 61"/>
          <p:cNvGrpSpPr>
            <a:grpSpLocks/>
          </p:cNvGrpSpPr>
          <p:nvPr/>
        </p:nvGrpSpPr>
        <p:grpSpPr bwMode="auto">
          <a:xfrm>
            <a:off x="0" y="837083"/>
            <a:ext cx="9144000" cy="41275"/>
            <a:chOff x="0" y="1187350"/>
            <a:chExt cx="9144000" cy="40942"/>
          </a:xfrm>
        </p:grpSpPr>
        <p:cxnSp>
          <p:nvCxnSpPr>
            <p:cNvPr id="25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7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17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66991206"/>
      </p:ext>
    </p:extLst>
  </p:cSld>
  <p:clrMapOvr>
    <a:masterClrMapping/>
  </p:clrMapOvr>
  <p:transition spd="slow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40" name="Diapositiva think-cell" r:id="rId5" imgW="360" imgH="360" progId="TCLayout.ActiveDocument.1">
                  <p:embed/>
                </p:oleObj>
              </mc:Choice>
              <mc:Fallback>
                <p:oleObj name="Diapositiva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D0558627-9C24-48B8-AE91-F8ABFC95D8D9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grpSp>
        <p:nvGrpSpPr>
          <p:cNvPr id="8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4" name="Group 61"/>
          <p:cNvGrpSpPr>
            <a:grpSpLocks/>
          </p:cNvGrpSpPr>
          <p:nvPr/>
        </p:nvGrpSpPr>
        <p:grpSpPr bwMode="auto">
          <a:xfrm>
            <a:off x="0" y="662281"/>
            <a:ext cx="9144000" cy="41275"/>
            <a:chOff x="0" y="1187350"/>
            <a:chExt cx="9144000" cy="40942"/>
          </a:xfrm>
        </p:grpSpPr>
        <p:cxnSp>
          <p:nvCxnSpPr>
            <p:cNvPr id="25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7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41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41817567"/>
      </p:ext>
    </p:extLst>
  </p:cSld>
  <p:clrMapOvr>
    <a:masterClrMapping/>
  </p:clrMapOvr>
  <p:transition spd="slow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STD Testo 2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23"/>
          </p:nvPr>
        </p:nvSpPr>
        <p:spPr>
          <a:xfrm>
            <a:off x="8658416" y="6498211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14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4, </a:t>
            </a:r>
            <a:r>
              <a:rPr lang="it-IT" dirty="0" err="1"/>
              <a:t>bold</a:t>
            </a:r>
            <a:r>
              <a:rPr lang="it-IT" dirty="0"/>
              <a:t>, maiuscolo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5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8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35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24"/>
          </p:nvPr>
        </p:nvSpPr>
        <p:spPr>
          <a:xfrm>
            <a:off x="278606" y="1016003"/>
            <a:ext cx="4221956" cy="5097463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25"/>
          </p:nvPr>
        </p:nvSpPr>
        <p:spPr>
          <a:xfrm>
            <a:off x="4643438" y="1016003"/>
            <a:ext cx="4221956" cy="5097463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378003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64" name="Diapositiva think-cell" r:id="rId6" imgW="360" imgH="360" progId="TCLayout.ActiveDocument.1">
                  <p:embed/>
                </p:oleObj>
              </mc:Choice>
              <mc:Fallback>
                <p:oleObj name="Diapositiva think-cell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C3DEBEC4-D8C0-454B-AF3C-9C845FCC62E9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grpSp>
        <p:nvGrpSpPr>
          <p:cNvPr id="8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4" name="Group 61"/>
          <p:cNvGrpSpPr>
            <a:grpSpLocks/>
          </p:cNvGrpSpPr>
          <p:nvPr/>
        </p:nvGrpSpPr>
        <p:grpSpPr bwMode="auto">
          <a:xfrm>
            <a:off x="0" y="971556"/>
            <a:ext cx="9144000" cy="41275"/>
            <a:chOff x="0" y="1187350"/>
            <a:chExt cx="9144000" cy="40942"/>
          </a:xfrm>
        </p:grpSpPr>
        <p:cxnSp>
          <p:nvCxnSpPr>
            <p:cNvPr id="25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7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65" name="Diapositiva think-cell" r:id="rId8" imgW="360" imgH="360" progId="TCLayout.ActiveDocument.1">
                  <p:embed/>
                </p:oleObj>
              </mc:Choice>
              <mc:Fallback>
                <p:oleObj name="Diapositiva think-cell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5400000">
            <a:off x="5949157" y="3320259"/>
            <a:ext cx="5662612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5400">
                <a:solidFill>
                  <a:srgbClr val="F2F2F2"/>
                </a:solidFill>
              </a:rPr>
              <a:t>RISERVATO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046" y="1509714"/>
            <a:ext cx="8274051" cy="4613275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55912081"/>
      </p:ext>
    </p:extLst>
  </p:cSld>
  <p:clrMapOvr>
    <a:masterClrMapping/>
  </p:clrMapOvr>
  <p:transition spd="slow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88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1443798D-C4CC-4F21-9BA3-B006BE1A994D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grpSp>
        <p:nvGrpSpPr>
          <p:cNvPr id="8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4" name="Group 61"/>
          <p:cNvGrpSpPr>
            <a:grpSpLocks/>
          </p:cNvGrpSpPr>
          <p:nvPr/>
        </p:nvGrpSpPr>
        <p:grpSpPr bwMode="auto">
          <a:xfrm>
            <a:off x="0" y="608027"/>
            <a:ext cx="9144000" cy="41275"/>
            <a:chOff x="0" y="1187350"/>
            <a:chExt cx="9144000" cy="40942"/>
          </a:xfrm>
        </p:grpSpPr>
        <p:cxnSp>
          <p:nvCxnSpPr>
            <p:cNvPr id="25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7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89" name="Diapositiva think-cell" r:id="rId9" imgW="360" imgH="360" progId="TCLayout.ActiveDocument.1">
                  <p:embed/>
                </p:oleObj>
              </mc:Choice>
              <mc:Fallback>
                <p:oleObj name="Diapositiva think-cell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19719294">
            <a:off x="1266825" y="3245282"/>
            <a:ext cx="6724651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5400">
                <a:solidFill>
                  <a:srgbClr val="F2F2F2"/>
                </a:solidFill>
              </a:rPr>
              <a:t>RISERVATO</a:t>
            </a:r>
          </a:p>
        </p:txBody>
      </p:sp>
      <p:sp>
        <p:nvSpPr>
          <p:cNvPr id="29" name="Rectangle 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150442" y="73026"/>
            <a:ext cx="227947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900">
                <a:solidFill>
                  <a:srgbClr val="C41300"/>
                </a:solidFill>
              </a:rPr>
              <a:t>FOR DISCUSSION ONLY-RIPRODUZIONE VIETATA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137" y="-250568"/>
            <a:ext cx="8273563" cy="831851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046" y="1509714"/>
            <a:ext cx="8274051" cy="4613275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414574416"/>
      </p:ext>
    </p:extLst>
  </p:cSld>
  <p:clrMapOvr>
    <a:masterClrMapping/>
  </p:clrMapOvr>
  <p:transition spd="slow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12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69E2C233-37C8-4952-AF4E-316734C5AB71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grpSp>
        <p:nvGrpSpPr>
          <p:cNvPr id="8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4" name="Group 61"/>
          <p:cNvGrpSpPr>
            <a:grpSpLocks/>
          </p:cNvGrpSpPr>
          <p:nvPr/>
        </p:nvGrpSpPr>
        <p:grpSpPr bwMode="auto">
          <a:xfrm>
            <a:off x="0" y="608027"/>
            <a:ext cx="9144000" cy="41275"/>
            <a:chOff x="0" y="1187350"/>
            <a:chExt cx="9144000" cy="40942"/>
          </a:xfrm>
        </p:grpSpPr>
        <p:cxnSp>
          <p:nvCxnSpPr>
            <p:cNvPr id="25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7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13" name="Diapositiva think-cell" r:id="rId9" imgW="360" imgH="360" progId="TCLayout.ActiveDocument.1">
                  <p:embed/>
                </p:oleObj>
              </mc:Choice>
              <mc:Fallback>
                <p:oleObj name="Diapositiva think-cell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16200000">
            <a:off x="-2447921" y="3081766"/>
            <a:ext cx="5695951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5400">
                <a:solidFill>
                  <a:srgbClr val="F2F2F2"/>
                </a:solidFill>
              </a:rPr>
              <a:t>RISERVATO</a:t>
            </a:r>
          </a:p>
        </p:txBody>
      </p:sp>
      <p:sp>
        <p:nvSpPr>
          <p:cNvPr id="29" name="Rectangle 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150442" y="73026"/>
            <a:ext cx="227947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900">
                <a:solidFill>
                  <a:srgbClr val="C41300"/>
                </a:solidFill>
              </a:rPr>
              <a:t>FOR DISCUSSION ONLY-RIPRODUZIONE VIETATA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137" y="-250568"/>
            <a:ext cx="8273563" cy="831851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046" y="1509714"/>
            <a:ext cx="8274051" cy="4613275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086090803"/>
      </p:ext>
    </p:extLst>
  </p:cSld>
  <p:clrMapOvr>
    <a:masterClrMapping/>
  </p:clrMapOvr>
  <p:transition spd="slow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36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FCD7B171-F446-437C-A6D1-141BB932CE99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grpSp>
        <p:nvGrpSpPr>
          <p:cNvPr id="8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4" name="Group 61"/>
          <p:cNvGrpSpPr>
            <a:grpSpLocks/>
          </p:cNvGrpSpPr>
          <p:nvPr/>
        </p:nvGrpSpPr>
        <p:grpSpPr bwMode="auto">
          <a:xfrm>
            <a:off x="0" y="608027"/>
            <a:ext cx="9144000" cy="41275"/>
            <a:chOff x="0" y="1187350"/>
            <a:chExt cx="9144000" cy="40942"/>
          </a:xfrm>
        </p:grpSpPr>
        <p:cxnSp>
          <p:nvCxnSpPr>
            <p:cNvPr id="25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7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37" name="Diapositiva think-cell" r:id="rId9" imgW="360" imgH="360" progId="TCLayout.ActiveDocument.1">
                  <p:embed/>
                </p:oleObj>
              </mc:Choice>
              <mc:Fallback>
                <p:oleObj name="Diapositiva think-cell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5400000">
            <a:off x="5813430" y="3081766"/>
            <a:ext cx="5695951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5400">
                <a:solidFill>
                  <a:srgbClr val="F2F2F2"/>
                </a:solidFill>
              </a:rPr>
              <a:t>RISERVATO</a:t>
            </a:r>
          </a:p>
        </p:txBody>
      </p:sp>
      <p:sp>
        <p:nvSpPr>
          <p:cNvPr id="29" name="Rectangle 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150442" y="73026"/>
            <a:ext cx="227947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900">
                <a:solidFill>
                  <a:srgbClr val="C41300"/>
                </a:solidFill>
              </a:rPr>
              <a:t>FOR DISCUSSION ONLY-RIPRODUZIONE VIETATA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137" y="-250568"/>
            <a:ext cx="8273563" cy="831851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046" y="1509714"/>
            <a:ext cx="8274051" cy="4613275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854605843"/>
      </p:ext>
    </p:extLst>
  </p:cSld>
  <p:clrMapOvr>
    <a:masterClrMapping/>
  </p:clrMapOvr>
  <p:transition spd="slow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60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FED59FD3-BF61-4A79-A93E-B12D380BBD1C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grpSp>
        <p:nvGrpSpPr>
          <p:cNvPr id="8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4" name="Group 61"/>
          <p:cNvGrpSpPr>
            <a:grpSpLocks/>
          </p:cNvGrpSpPr>
          <p:nvPr/>
        </p:nvGrpSpPr>
        <p:grpSpPr bwMode="auto">
          <a:xfrm>
            <a:off x="0" y="608027"/>
            <a:ext cx="9144000" cy="41275"/>
            <a:chOff x="0" y="1187350"/>
            <a:chExt cx="9144000" cy="40942"/>
          </a:xfrm>
        </p:grpSpPr>
        <p:cxnSp>
          <p:nvCxnSpPr>
            <p:cNvPr id="25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7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61" name="Diapositiva think-cell" r:id="rId9" imgW="360" imgH="360" progId="TCLayout.ActiveDocument.1">
                  <p:embed/>
                </p:oleObj>
              </mc:Choice>
              <mc:Fallback>
                <p:oleObj name="Diapositiva think-cell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336676" y="5749931"/>
            <a:ext cx="525780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5400">
                <a:solidFill>
                  <a:srgbClr val="F2F2F2"/>
                </a:solidFill>
              </a:rPr>
              <a:t>RISERVATO</a:t>
            </a:r>
          </a:p>
        </p:txBody>
      </p:sp>
      <p:sp>
        <p:nvSpPr>
          <p:cNvPr id="29" name="Rectangle 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150442" y="73026"/>
            <a:ext cx="227947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900">
                <a:solidFill>
                  <a:srgbClr val="C41300"/>
                </a:solidFill>
              </a:rPr>
              <a:t>FOR DISCUSSION ONLY-RIPRODUZIONE VIETATA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137" y="-250568"/>
            <a:ext cx="8273563" cy="831851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046" y="1509714"/>
            <a:ext cx="8274051" cy="4613275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232780379"/>
      </p:ext>
    </p:extLst>
  </p:cSld>
  <p:clrMapOvr>
    <a:masterClrMapping/>
  </p:clrMapOvr>
  <p:transition spd="slow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84" name="Diapositiva think-cell" r:id="rId5" imgW="360" imgH="360" progId="TCLayout.ActiveDocument.1">
                  <p:embed/>
                </p:oleObj>
              </mc:Choice>
              <mc:Fallback>
                <p:oleObj name="Diapositiva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5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1472F6EC-1726-4A8D-957F-F38C405AC029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grpSp>
        <p:nvGrpSpPr>
          <p:cNvPr id="6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7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2" name="Group 61"/>
          <p:cNvGrpSpPr>
            <a:grpSpLocks/>
          </p:cNvGrpSpPr>
          <p:nvPr/>
        </p:nvGrpSpPr>
        <p:grpSpPr bwMode="auto">
          <a:xfrm>
            <a:off x="0" y="971556"/>
            <a:ext cx="9144000" cy="41275"/>
            <a:chOff x="0" y="1187350"/>
            <a:chExt cx="9144000" cy="40942"/>
          </a:xfrm>
        </p:grpSpPr>
        <p:cxnSp>
          <p:nvCxnSpPr>
            <p:cNvPr id="23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5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85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872155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008" name="Diapositiva think-cell" r:id="rId5" imgW="360" imgH="360" progId="TCLayout.ActiveDocument.1">
                  <p:embed/>
                </p:oleObj>
              </mc:Choice>
              <mc:Fallback>
                <p:oleObj name="Diapositiva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4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6586FFB8-7EE2-4827-84F0-FAEEFFF208BB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grpSp>
        <p:nvGrpSpPr>
          <p:cNvPr id="5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6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7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8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0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1" name="Group 61"/>
          <p:cNvGrpSpPr>
            <a:grpSpLocks/>
          </p:cNvGrpSpPr>
          <p:nvPr/>
        </p:nvGrpSpPr>
        <p:grpSpPr bwMode="auto">
          <a:xfrm>
            <a:off x="0" y="971556"/>
            <a:ext cx="9144000" cy="41275"/>
            <a:chOff x="0" y="1187350"/>
            <a:chExt cx="9144000" cy="40942"/>
          </a:xfrm>
        </p:grpSpPr>
        <p:cxnSp>
          <p:nvCxnSpPr>
            <p:cNvPr id="22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4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009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137284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032" name="Diapositiva think-cell" r:id="rId6" imgW="360" imgH="360" progId="TCLayout.ActiveDocument.1">
                  <p:embed/>
                </p:oleObj>
              </mc:Choice>
              <mc:Fallback>
                <p:oleObj name="Diapositiva think-cell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4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11B332E4-B214-494B-94F4-7AFF0056577F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grpSp>
        <p:nvGrpSpPr>
          <p:cNvPr id="5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6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7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8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0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1" name="Group 61"/>
          <p:cNvGrpSpPr>
            <a:grpSpLocks/>
          </p:cNvGrpSpPr>
          <p:nvPr/>
        </p:nvGrpSpPr>
        <p:grpSpPr bwMode="auto">
          <a:xfrm>
            <a:off x="0" y="1106502"/>
            <a:ext cx="9144000" cy="41275"/>
            <a:chOff x="0" y="1187350"/>
            <a:chExt cx="9144000" cy="40942"/>
          </a:xfrm>
        </p:grpSpPr>
        <p:cxnSp>
          <p:nvCxnSpPr>
            <p:cNvPr id="22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4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033" name="Diapositiva think-cell" r:id="rId8" imgW="360" imgH="360" progId="TCLayout.ActiveDocument.1">
                  <p:embed/>
                </p:oleObj>
              </mc:Choice>
              <mc:Fallback>
                <p:oleObj name="Diapositiva think-cell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150442" y="73026"/>
            <a:ext cx="227947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900">
                <a:solidFill>
                  <a:srgbClr val="C41300"/>
                </a:solidFill>
              </a:rPr>
              <a:t>FOR DISCUSSION ONLY-RIPRODUZIONE VIETATA </a:t>
            </a:r>
          </a:p>
        </p:txBody>
      </p:sp>
    </p:spTree>
    <p:extLst>
      <p:ext uri="{BB962C8B-B14F-4D97-AF65-F5344CB8AC3E}">
        <p14:creationId xmlns:p14="http://schemas.microsoft.com/office/powerpoint/2010/main" val="310680210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056" name="Diapositiva think-cell" r:id="rId6" imgW="360" imgH="360" progId="TCLayout.ActiveDocument.1">
                  <p:embed/>
                </p:oleObj>
              </mc:Choice>
              <mc:Fallback>
                <p:oleObj name="Diapositiva think-cell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FC5384FC-E58D-4B54-87CE-D918F2E6C9ED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grpSp>
        <p:nvGrpSpPr>
          <p:cNvPr id="8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4" name="Group 61"/>
          <p:cNvGrpSpPr>
            <a:grpSpLocks/>
          </p:cNvGrpSpPr>
          <p:nvPr/>
        </p:nvGrpSpPr>
        <p:grpSpPr bwMode="auto">
          <a:xfrm>
            <a:off x="0" y="971556"/>
            <a:ext cx="9144000" cy="41275"/>
            <a:chOff x="0" y="1187350"/>
            <a:chExt cx="9144000" cy="40942"/>
          </a:xfrm>
        </p:grpSpPr>
        <p:cxnSp>
          <p:nvCxnSpPr>
            <p:cNvPr id="25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7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057" name="Diapositiva think-cell" r:id="rId8" imgW="360" imgH="360" progId="TCLayout.ActiveDocument.1">
                  <p:embed/>
                </p:oleObj>
              </mc:Choice>
              <mc:Fallback>
                <p:oleObj name="Diapositiva think-cell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150442" y="73026"/>
            <a:ext cx="227947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900">
                <a:solidFill>
                  <a:srgbClr val="C41300"/>
                </a:solidFill>
              </a:rPr>
              <a:t>FOR DISCUSSION ONLY-RIPRODUZIONE VIETATA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413" y="-306388"/>
            <a:ext cx="8272463" cy="831851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046" y="1509714"/>
            <a:ext cx="8274051" cy="4613275"/>
          </a:xfrm>
          <a:prstGeom prst="rect">
            <a:avLst/>
          </a:prstGeom>
        </p:spPr>
        <p:txBody>
          <a:bodyPr lIns="91429" tIns="45715" rIns="91429" bIns="45715"/>
          <a:lstStyle>
            <a:lvl1pPr marL="172781" indent="-172781">
              <a:buFont typeface="Calibri" pitchFamily="34" charset="0"/>
              <a:buChar char="→"/>
              <a:defRPr b="0"/>
            </a:lvl1pPr>
            <a:lvl2pPr marL="342861" indent="-172781">
              <a:buFont typeface="Arial" pitchFamily="34" charset="0"/>
              <a:buChar char="•"/>
              <a:defRPr/>
            </a:lvl2pPr>
            <a:lvl3pPr marL="685722">
              <a:buFont typeface="Calibri" pitchFamily="34" charset="0"/>
              <a:buChar char="–"/>
              <a:defRPr/>
            </a:lvl3pPr>
            <a:lvl4pPr marL="1028584">
              <a:buFont typeface="Trebuchet MS" pitchFamily="34" charset="0"/>
              <a:buChar char="–"/>
              <a:defRPr/>
            </a:lvl4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</p:txBody>
      </p:sp>
    </p:spTree>
    <p:extLst>
      <p:ext uri="{BB962C8B-B14F-4D97-AF65-F5344CB8AC3E}">
        <p14:creationId xmlns:p14="http://schemas.microsoft.com/office/powerpoint/2010/main" val="2053206494"/>
      </p:ext>
    </p:extLst>
  </p:cSld>
  <p:clrMapOvr>
    <a:masterClrMapping/>
  </p:clrMapOvr>
  <p:transition spd="slow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4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69" name="Diapositiva think-cell" r:id="rId4" imgW="0" imgH="0" progId="TCLayout.ActiveDocument.1">
                  <p:embed/>
                </p:oleObj>
              </mc:Choice>
              <mc:Fallback>
                <p:oleObj name="Diapositiva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4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11"/>
          <p:cNvGrpSpPr>
            <a:grpSpLocks/>
          </p:cNvGrpSpPr>
          <p:nvPr/>
        </p:nvGrpSpPr>
        <p:grpSpPr bwMode="auto">
          <a:xfrm>
            <a:off x="4" y="6"/>
            <a:ext cx="3578225" cy="630239"/>
            <a:chOff x="0" y="-1"/>
            <a:chExt cx="3876673" cy="630746"/>
          </a:xfrm>
        </p:grpSpPr>
        <p:sp>
          <p:nvSpPr>
            <p:cNvPr id="7" name="Freeform 6"/>
            <p:cNvSpPr>
              <a:spLocks noChangeAspect="1"/>
            </p:cNvSpPr>
            <p:nvPr userDrawn="1"/>
          </p:nvSpPr>
          <p:spPr bwMode="auto">
            <a:xfrm rot="10800000">
              <a:off x="772239" y="-1"/>
              <a:ext cx="3104434" cy="630746"/>
            </a:xfrm>
            <a:custGeom>
              <a:avLst/>
              <a:gdLst/>
              <a:ahLst/>
              <a:cxnLst>
                <a:cxn ang="0">
                  <a:pos x="1196" y="0"/>
                </a:cxn>
                <a:cxn ang="0">
                  <a:pos x="236" y="0"/>
                </a:cxn>
                <a:cxn ang="0">
                  <a:pos x="0" y="212"/>
                </a:cxn>
                <a:cxn ang="0">
                  <a:pos x="1196" y="212"/>
                </a:cxn>
                <a:cxn ang="0">
                  <a:pos x="1196" y="0"/>
                </a:cxn>
              </a:cxnLst>
              <a:rect l="0" t="0" r="r" b="b"/>
              <a:pathLst>
                <a:path w="1196" h="212">
                  <a:moveTo>
                    <a:pt x="1196" y="0"/>
                  </a:moveTo>
                  <a:cubicBezTo>
                    <a:pt x="236" y="0"/>
                    <a:pt x="236" y="0"/>
                    <a:pt x="236" y="0"/>
                  </a:cubicBezTo>
                  <a:cubicBezTo>
                    <a:pt x="106" y="0"/>
                    <a:pt x="0" y="95"/>
                    <a:pt x="0" y="212"/>
                  </a:cubicBezTo>
                  <a:cubicBezTo>
                    <a:pt x="1196" y="212"/>
                    <a:pt x="1196" y="212"/>
                    <a:pt x="1196" y="212"/>
                  </a:cubicBezTo>
                  <a:lnTo>
                    <a:pt x="1196" y="0"/>
                  </a:lnTo>
                  <a:close/>
                </a:path>
              </a:pathLst>
            </a:custGeom>
            <a:solidFill>
              <a:srgbClr val="F4E6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000000"/>
                </a:solidFill>
              </a:endParaRPr>
            </a:p>
          </p:txBody>
        </p:sp>
        <p:sp>
          <p:nvSpPr>
            <p:cNvPr id="8" name="Freeform 6"/>
            <p:cNvSpPr>
              <a:spLocks noChangeAspect="1"/>
            </p:cNvSpPr>
            <p:nvPr userDrawn="1"/>
          </p:nvSpPr>
          <p:spPr bwMode="auto">
            <a:xfrm rot="10800000">
              <a:off x="0" y="-1"/>
              <a:ext cx="3104435" cy="630746"/>
            </a:xfrm>
            <a:custGeom>
              <a:avLst/>
              <a:gdLst/>
              <a:ahLst/>
              <a:cxnLst>
                <a:cxn ang="0">
                  <a:pos x="1196" y="0"/>
                </a:cxn>
                <a:cxn ang="0">
                  <a:pos x="236" y="0"/>
                </a:cxn>
                <a:cxn ang="0">
                  <a:pos x="0" y="212"/>
                </a:cxn>
                <a:cxn ang="0">
                  <a:pos x="1196" y="212"/>
                </a:cxn>
                <a:cxn ang="0">
                  <a:pos x="1196" y="0"/>
                </a:cxn>
              </a:cxnLst>
              <a:rect l="0" t="0" r="r" b="b"/>
              <a:pathLst>
                <a:path w="1196" h="212">
                  <a:moveTo>
                    <a:pt x="1196" y="0"/>
                  </a:moveTo>
                  <a:cubicBezTo>
                    <a:pt x="236" y="0"/>
                    <a:pt x="236" y="0"/>
                    <a:pt x="236" y="0"/>
                  </a:cubicBezTo>
                  <a:cubicBezTo>
                    <a:pt x="106" y="0"/>
                    <a:pt x="0" y="95"/>
                    <a:pt x="0" y="212"/>
                  </a:cubicBezTo>
                  <a:cubicBezTo>
                    <a:pt x="1196" y="212"/>
                    <a:pt x="1196" y="212"/>
                    <a:pt x="1196" y="212"/>
                  </a:cubicBezTo>
                  <a:lnTo>
                    <a:pt x="1196" y="0"/>
                  </a:lnTo>
                  <a:close/>
                </a:path>
              </a:pathLst>
            </a:custGeom>
            <a:solidFill>
              <a:srgbClr val="F4E6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000000"/>
                </a:solidFill>
              </a:endParaRPr>
            </a:p>
          </p:txBody>
        </p:sp>
      </p:grpSp>
      <p:grpSp>
        <p:nvGrpSpPr>
          <p:cNvPr id="9" name="Group 29"/>
          <p:cNvGrpSpPr/>
          <p:nvPr/>
        </p:nvGrpSpPr>
        <p:grpSpPr>
          <a:xfrm>
            <a:off x="302130" y="155582"/>
            <a:ext cx="2208793" cy="273051"/>
            <a:chOff x="4880233" y="981075"/>
            <a:chExt cx="1985052" cy="226515"/>
          </a:xfrm>
          <a:solidFill>
            <a:srgbClr val="FF0000"/>
          </a:solidFill>
        </p:grpSpPr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5643808" y="1045713"/>
              <a:ext cx="185718" cy="161877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/>
          </p:nvSpPr>
          <p:spPr bwMode="auto">
            <a:xfrm>
              <a:off x="4880233" y="983323"/>
              <a:ext cx="217990" cy="219770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5100659" y="1045713"/>
              <a:ext cx="200332" cy="161877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5313169" y="1045713"/>
              <a:ext cx="166842" cy="161877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/>
          </p:nvSpPr>
          <p:spPr bwMode="auto">
            <a:xfrm>
              <a:off x="5489754" y="1004682"/>
              <a:ext cx="137005" cy="202908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auto">
            <a:xfrm>
              <a:off x="5854492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/>
          </p:nvSpPr>
          <p:spPr bwMode="auto">
            <a:xfrm>
              <a:off x="5854492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/>
          </p:nvSpPr>
          <p:spPr bwMode="auto">
            <a:xfrm>
              <a:off x="5912947" y="1006931"/>
              <a:ext cx="102906" cy="198411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030467" y="1043465"/>
              <a:ext cx="149183" cy="161877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Rectangle 15"/>
            <p:cNvSpPr>
              <a:spLocks noChangeArrowheads="1"/>
            </p:cNvSpPr>
            <p:nvPr/>
          </p:nvSpPr>
          <p:spPr bwMode="auto">
            <a:xfrm>
              <a:off x="6211923" y="981075"/>
              <a:ext cx="31663" cy="219770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6"/>
            <p:cNvSpPr>
              <a:spLocks noEditPoints="1"/>
            </p:cNvSpPr>
            <p:nvPr/>
          </p:nvSpPr>
          <p:spPr bwMode="auto">
            <a:xfrm>
              <a:off x="6282557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auto">
            <a:xfrm>
              <a:off x="6282557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8"/>
            <p:cNvSpPr>
              <a:spLocks noEditPoints="1"/>
            </p:cNvSpPr>
            <p:nvPr/>
          </p:nvSpPr>
          <p:spPr bwMode="auto">
            <a:xfrm>
              <a:off x="6348928" y="1043465"/>
              <a:ext cx="146139" cy="161877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auto">
            <a:xfrm>
              <a:off x="6529775" y="1043465"/>
              <a:ext cx="151619" cy="157380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4" name="Freeform 20"/>
            <p:cNvSpPr>
              <a:spLocks noEditPoints="1"/>
            </p:cNvSpPr>
            <p:nvPr/>
          </p:nvSpPr>
          <p:spPr bwMode="auto">
            <a:xfrm>
              <a:off x="6705750" y="1043465"/>
              <a:ext cx="159535" cy="161877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pic>
        <p:nvPicPr>
          <p:cNvPr id="25" name="Picture 2" descr="Prima_footer-giallo-v42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4688" y="6180148"/>
            <a:ext cx="8469312" cy="677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Text Placeholder 48"/>
          <p:cNvSpPr>
            <a:spLocks noGrp="1"/>
          </p:cNvSpPr>
          <p:nvPr>
            <p:ph type="body" sz="quarter" idx="11"/>
          </p:nvPr>
        </p:nvSpPr>
        <p:spPr>
          <a:xfrm>
            <a:off x="250826" y="1700213"/>
            <a:ext cx="8569324" cy="2438400"/>
          </a:xfrm>
          <a:prstGeom prst="rect">
            <a:avLst/>
          </a:prstGeom>
        </p:spPr>
        <p:txBody>
          <a:bodyPr lIns="91429" tIns="45715" rIns="91429" bIns="45715"/>
          <a:lstStyle>
            <a:lvl1pPr algn="ctr">
              <a:defRPr sz="3000"/>
            </a:lvl1pPr>
          </a:lstStyle>
          <a:p>
            <a:pPr lvl="0"/>
            <a:r>
              <a:rPr lang="it-IT" noProof="0"/>
              <a:t>Fare clic per modificare stili del testo dello schema</a:t>
            </a:r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2"/>
          </p:nvPr>
        </p:nvSpPr>
        <p:spPr>
          <a:xfrm>
            <a:off x="1258966" y="3617931"/>
            <a:ext cx="6769100" cy="1755775"/>
          </a:xfrm>
          <a:prstGeom prst="rect">
            <a:avLst/>
          </a:prstGeom>
        </p:spPr>
        <p:txBody>
          <a:bodyPr lIns="91429" tIns="45715" rIns="91429" bIns="45715"/>
          <a:lstStyle>
            <a:lvl1pPr algn="ctr">
              <a:defRPr sz="1725" baseline="0"/>
            </a:lvl1pPr>
          </a:lstStyle>
          <a:p>
            <a:pPr lvl="0"/>
            <a:r>
              <a:rPr lang="it-IT" noProof="0"/>
              <a:t>Fare clic per modificare stili del testo dello schema</a:t>
            </a:r>
          </a:p>
        </p:txBody>
      </p:sp>
      <p:sp>
        <p:nvSpPr>
          <p:cNvPr id="53" name="Text Placeholder 52"/>
          <p:cNvSpPr>
            <a:spLocks noGrp="1"/>
          </p:cNvSpPr>
          <p:nvPr>
            <p:ph type="body" sz="quarter" idx="13"/>
          </p:nvPr>
        </p:nvSpPr>
        <p:spPr>
          <a:xfrm>
            <a:off x="4141183" y="6314523"/>
            <a:ext cx="5002823" cy="476251"/>
          </a:xfrm>
          <a:prstGeom prst="rect">
            <a:avLst/>
          </a:prstGeom>
        </p:spPr>
        <p:txBody>
          <a:bodyPr lIns="91429" tIns="45715" rIns="91429" bIns="45715"/>
          <a:lstStyle>
            <a:lvl1pPr algn="ctr">
              <a:defRPr i="1"/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0377978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esto + Imm. d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egnaposto immagine 26"/>
          <p:cNvSpPr>
            <a:spLocks noGrp="1"/>
          </p:cNvSpPr>
          <p:nvPr>
            <p:ph type="pic" sz="quarter" idx="16"/>
          </p:nvPr>
        </p:nvSpPr>
        <p:spPr>
          <a:xfrm>
            <a:off x="4643438" y="1016003"/>
            <a:ext cx="4195763" cy="509746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vert="horz" lIns="0" tIns="45720" rIns="0" bIns="45720" rtlCol="0" anchor="t">
            <a:normAutofit/>
          </a:bodyPr>
          <a:lstStyle>
            <a:lvl1pPr marL="0" indent="0" algn="l">
              <a:buNone/>
              <a:defRPr lang="it-IT"/>
            </a:lvl1pPr>
          </a:lstStyle>
          <a:p>
            <a:pPr lvl="0"/>
            <a:r>
              <a:rPr lang="it-IT"/>
              <a:t>Fare clic sull'icona per inserire un'immagine</a:t>
            </a:r>
            <a:endParaRPr lang="it-IT" dirty="0"/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7"/>
          </p:nvPr>
        </p:nvSpPr>
        <p:spPr>
          <a:xfrm>
            <a:off x="8658416" y="6498211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20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4, </a:t>
            </a:r>
            <a:r>
              <a:rPr lang="it-IT" dirty="0" err="1"/>
              <a:t>bold</a:t>
            </a:r>
            <a:r>
              <a:rPr lang="it-IT" dirty="0"/>
              <a:t>, maiuscolo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21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8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35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278606" y="2066925"/>
            <a:ext cx="4221956" cy="30384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441404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04" name="Diapositiva think-cell" r:id="rId5" imgW="360" imgH="360" progId="TCLayout.ActiveDocument.1">
                  <p:embed/>
                </p:oleObj>
              </mc:Choice>
              <mc:Fallback>
                <p:oleObj name="Diapositiva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BCF583AB-1CFA-49B7-B253-C269780C28CD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grpSp>
        <p:nvGrpSpPr>
          <p:cNvPr id="9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4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5" name="Group 61"/>
          <p:cNvGrpSpPr>
            <a:grpSpLocks/>
          </p:cNvGrpSpPr>
          <p:nvPr/>
        </p:nvGrpSpPr>
        <p:grpSpPr bwMode="auto">
          <a:xfrm>
            <a:off x="0" y="608027"/>
            <a:ext cx="9144000" cy="41275"/>
            <a:chOff x="0" y="1187350"/>
            <a:chExt cx="9144000" cy="40942"/>
          </a:xfrm>
        </p:grpSpPr>
        <p:cxnSp>
          <p:nvCxnSpPr>
            <p:cNvPr id="26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9" name="Object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05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4861861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28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4581D192-D338-4651-BAC7-F94384EE2004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sp>
        <p:nvSpPr>
          <p:cNvPr id="8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150442" y="73026"/>
            <a:ext cx="227947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900">
                <a:solidFill>
                  <a:srgbClr val="C41300"/>
                </a:solidFill>
              </a:rPr>
              <a:t>FOR DISCUSSION ONLY-RIPRODUZIONE VIETATA </a:t>
            </a:r>
          </a:p>
        </p:txBody>
      </p:sp>
      <p:grpSp>
        <p:nvGrpSpPr>
          <p:cNvPr id="9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4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5" name="Group 61"/>
          <p:cNvGrpSpPr>
            <a:grpSpLocks/>
          </p:cNvGrpSpPr>
          <p:nvPr/>
        </p:nvGrpSpPr>
        <p:grpSpPr bwMode="auto">
          <a:xfrm>
            <a:off x="0" y="608027"/>
            <a:ext cx="9144000" cy="41275"/>
            <a:chOff x="0" y="1187350"/>
            <a:chExt cx="9144000" cy="40942"/>
          </a:xfrm>
        </p:grpSpPr>
        <p:cxnSp>
          <p:nvCxnSpPr>
            <p:cNvPr id="26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19378617">
            <a:off x="1266825" y="3198320"/>
            <a:ext cx="6724651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6000">
                <a:solidFill>
                  <a:srgbClr val="F2F2F2"/>
                </a:solidFill>
              </a:rPr>
              <a:t>RISERVATO</a:t>
            </a:r>
          </a:p>
        </p:txBody>
      </p:sp>
      <p:graphicFrame>
        <p:nvGraphicFramePr>
          <p:cNvPr id="29" name="Object 3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29" name="Diapositiva think-cell" r:id="rId9" imgW="360" imgH="360" progId="TCLayout.ActiveDocument.1">
                  <p:embed/>
                </p:oleObj>
              </mc:Choice>
              <mc:Fallback>
                <p:oleObj name="Diapositiva think-cell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413" y="-306388"/>
            <a:ext cx="8272463" cy="831851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046" y="1509714"/>
            <a:ext cx="8274051" cy="4613275"/>
          </a:xfrm>
          <a:prstGeom prst="rect">
            <a:avLst/>
          </a:prstGeom>
        </p:spPr>
        <p:txBody>
          <a:bodyPr lIns="91429" tIns="45715" rIns="91429" bIns="45715"/>
          <a:lstStyle>
            <a:lvl1pPr marL="172781" indent="-172781">
              <a:buFont typeface="Calibri" pitchFamily="34" charset="0"/>
              <a:buChar char="→"/>
              <a:defRPr b="0"/>
            </a:lvl1pPr>
            <a:lvl2pPr marL="342861" indent="-172781">
              <a:buFont typeface="Arial" pitchFamily="34" charset="0"/>
              <a:buChar char="•"/>
              <a:defRPr/>
            </a:lvl2pPr>
            <a:lvl3pPr marL="685722">
              <a:buFont typeface="Calibri" pitchFamily="34" charset="0"/>
              <a:buChar char="–"/>
              <a:defRPr/>
            </a:lvl3pPr>
            <a:lvl4pPr marL="1028584">
              <a:buFont typeface="Trebuchet MS" pitchFamily="34" charset="0"/>
              <a:buChar char="–"/>
              <a:defRPr/>
            </a:lvl4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</p:txBody>
      </p:sp>
    </p:spTree>
    <p:extLst>
      <p:ext uri="{BB962C8B-B14F-4D97-AF65-F5344CB8AC3E}">
        <p14:creationId xmlns:p14="http://schemas.microsoft.com/office/powerpoint/2010/main" val="386557102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52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5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A9D22214-AE1A-4648-B760-E97D15B4E446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sp>
        <p:nvSpPr>
          <p:cNvPr id="6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150442" y="73026"/>
            <a:ext cx="227947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900">
                <a:solidFill>
                  <a:srgbClr val="C41300"/>
                </a:solidFill>
              </a:rPr>
              <a:t>FOR DISCUSSION ONLY-RIPRODUZIONE VIETATA </a:t>
            </a:r>
          </a:p>
        </p:txBody>
      </p:sp>
      <p:grpSp>
        <p:nvGrpSpPr>
          <p:cNvPr id="7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8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3" name="Group 61"/>
          <p:cNvGrpSpPr>
            <a:grpSpLocks/>
          </p:cNvGrpSpPr>
          <p:nvPr/>
        </p:nvGrpSpPr>
        <p:grpSpPr bwMode="auto">
          <a:xfrm>
            <a:off x="0" y="608027"/>
            <a:ext cx="9144000" cy="41275"/>
            <a:chOff x="0" y="1187350"/>
            <a:chExt cx="9144000" cy="40942"/>
          </a:xfrm>
        </p:grpSpPr>
        <p:cxnSp>
          <p:nvCxnSpPr>
            <p:cNvPr id="24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19378617">
            <a:off x="1266825" y="3198320"/>
            <a:ext cx="6724651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6000">
                <a:solidFill>
                  <a:srgbClr val="F2F2F2"/>
                </a:solidFill>
              </a:rPr>
              <a:t>RISERVATO</a:t>
            </a:r>
          </a:p>
        </p:txBody>
      </p:sp>
      <p:graphicFrame>
        <p:nvGraphicFramePr>
          <p:cNvPr id="27" name="Object 2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53" name="Diapositiva think-cell" r:id="rId9" imgW="360" imgH="360" progId="TCLayout.ActiveDocument.1">
                  <p:embed/>
                </p:oleObj>
              </mc:Choice>
              <mc:Fallback>
                <p:oleObj name="Diapositiva think-cell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8435" y="3"/>
            <a:ext cx="8274050" cy="831851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35742301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413" y="-306388"/>
            <a:ext cx="8272463" cy="831851"/>
          </a:xfrm>
          <a:prstGeom prst="rect">
            <a:avLst/>
          </a:prstGeom>
        </p:spPr>
        <p:txBody>
          <a:bodyPr lIns="91429" tIns="45715" rIns="91429" bIns="45715"/>
          <a:lstStyle/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31686729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413" y="-306388"/>
            <a:ext cx="8272463" cy="831851"/>
          </a:xfrm>
          <a:prstGeom prst="rect">
            <a:avLst/>
          </a:prstGeom>
        </p:spPr>
        <p:txBody>
          <a:bodyPr lIns="91429" tIns="45715" rIns="91429" bIns="45715"/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73346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4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65" name="Diapositiva think-cell" r:id="rId4" imgW="0" imgH="0" progId="TCLayout.ActiveDocument.1">
                  <p:embed/>
                </p:oleObj>
              </mc:Choice>
              <mc:Fallback>
                <p:oleObj name="Diapositiva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4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11"/>
          <p:cNvGrpSpPr>
            <a:grpSpLocks/>
          </p:cNvGrpSpPr>
          <p:nvPr/>
        </p:nvGrpSpPr>
        <p:grpSpPr bwMode="auto">
          <a:xfrm>
            <a:off x="4" y="6"/>
            <a:ext cx="3578225" cy="630239"/>
            <a:chOff x="0" y="-1"/>
            <a:chExt cx="3876673" cy="630746"/>
          </a:xfrm>
        </p:grpSpPr>
        <p:sp>
          <p:nvSpPr>
            <p:cNvPr id="7" name="Freeform 6"/>
            <p:cNvSpPr>
              <a:spLocks noChangeAspect="1"/>
            </p:cNvSpPr>
            <p:nvPr userDrawn="1"/>
          </p:nvSpPr>
          <p:spPr bwMode="auto">
            <a:xfrm rot="10800000">
              <a:off x="772239" y="-1"/>
              <a:ext cx="3104434" cy="630746"/>
            </a:xfrm>
            <a:custGeom>
              <a:avLst/>
              <a:gdLst/>
              <a:ahLst/>
              <a:cxnLst>
                <a:cxn ang="0">
                  <a:pos x="1196" y="0"/>
                </a:cxn>
                <a:cxn ang="0">
                  <a:pos x="236" y="0"/>
                </a:cxn>
                <a:cxn ang="0">
                  <a:pos x="0" y="212"/>
                </a:cxn>
                <a:cxn ang="0">
                  <a:pos x="1196" y="212"/>
                </a:cxn>
                <a:cxn ang="0">
                  <a:pos x="1196" y="0"/>
                </a:cxn>
              </a:cxnLst>
              <a:rect l="0" t="0" r="r" b="b"/>
              <a:pathLst>
                <a:path w="1196" h="212">
                  <a:moveTo>
                    <a:pt x="1196" y="0"/>
                  </a:moveTo>
                  <a:cubicBezTo>
                    <a:pt x="236" y="0"/>
                    <a:pt x="236" y="0"/>
                    <a:pt x="236" y="0"/>
                  </a:cubicBezTo>
                  <a:cubicBezTo>
                    <a:pt x="106" y="0"/>
                    <a:pt x="0" y="95"/>
                    <a:pt x="0" y="212"/>
                  </a:cubicBezTo>
                  <a:cubicBezTo>
                    <a:pt x="1196" y="212"/>
                    <a:pt x="1196" y="212"/>
                    <a:pt x="1196" y="212"/>
                  </a:cubicBezTo>
                  <a:lnTo>
                    <a:pt x="1196" y="0"/>
                  </a:lnTo>
                  <a:close/>
                </a:path>
              </a:pathLst>
            </a:custGeom>
            <a:solidFill>
              <a:srgbClr val="F4E6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000000"/>
                </a:solidFill>
              </a:endParaRPr>
            </a:p>
          </p:txBody>
        </p:sp>
        <p:sp>
          <p:nvSpPr>
            <p:cNvPr id="8" name="Freeform 6"/>
            <p:cNvSpPr>
              <a:spLocks noChangeAspect="1"/>
            </p:cNvSpPr>
            <p:nvPr userDrawn="1"/>
          </p:nvSpPr>
          <p:spPr bwMode="auto">
            <a:xfrm rot="10800000">
              <a:off x="0" y="-1"/>
              <a:ext cx="3104435" cy="630746"/>
            </a:xfrm>
            <a:custGeom>
              <a:avLst/>
              <a:gdLst/>
              <a:ahLst/>
              <a:cxnLst>
                <a:cxn ang="0">
                  <a:pos x="1196" y="0"/>
                </a:cxn>
                <a:cxn ang="0">
                  <a:pos x="236" y="0"/>
                </a:cxn>
                <a:cxn ang="0">
                  <a:pos x="0" y="212"/>
                </a:cxn>
                <a:cxn ang="0">
                  <a:pos x="1196" y="212"/>
                </a:cxn>
                <a:cxn ang="0">
                  <a:pos x="1196" y="0"/>
                </a:cxn>
              </a:cxnLst>
              <a:rect l="0" t="0" r="r" b="b"/>
              <a:pathLst>
                <a:path w="1196" h="212">
                  <a:moveTo>
                    <a:pt x="1196" y="0"/>
                  </a:moveTo>
                  <a:cubicBezTo>
                    <a:pt x="236" y="0"/>
                    <a:pt x="236" y="0"/>
                    <a:pt x="236" y="0"/>
                  </a:cubicBezTo>
                  <a:cubicBezTo>
                    <a:pt x="106" y="0"/>
                    <a:pt x="0" y="95"/>
                    <a:pt x="0" y="212"/>
                  </a:cubicBezTo>
                  <a:cubicBezTo>
                    <a:pt x="1196" y="212"/>
                    <a:pt x="1196" y="212"/>
                    <a:pt x="1196" y="212"/>
                  </a:cubicBezTo>
                  <a:lnTo>
                    <a:pt x="1196" y="0"/>
                  </a:lnTo>
                  <a:close/>
                </a:path>
              </a:pathLst>
            </a:custGeom>
            <a:solidFill>
              <a:srgbClr val="F4E6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000000"/>
                </a:solidFill>
              </a:endParaRPr>
            </a:p>
          </p:txBody>
        </p:sp>
      </p:grpSp>
      <p:grpSp>
        <p:nvGrpSpPr>
          <p:cNvPr id="9" name="Group 29"/>
          <p:cNvGrpSpPr/>
          <p:nvPr/>
        </p:nvGrpSpPr>
        <p:grpSpPr>
          <a:xfrm>
            <a:off x="302130" y="155582"/>
            <a:ext cx="2208793" cy="273051"/>
            <a:chOff x="4880233" y="981075"/>
            <a:chExt cx="1985052" cy="226515"/>
          </a:xfrm>
          <a:solidFill>
            <a:srgbClr val="FF0000"/>
          </a:solidFill>
        </p:grpSpPr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5643808" y="1045713"/>
              <a:ext cx="185718" cy="161877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/>
          </p:nvSpPr>
          <p:spPr bwMode="auto">
            <a:xfrm>
              <a:off x="4880233" y="983323"/>
              <a:ext cx="217990" cy="219770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5100659" y="1045713"/>
              <a:ext cx="200332" cy="161877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5313169" y="1045713"/>
              <a:ext cx="166842" cy="161877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/>
          </p:nvSpPr>
          <p:spPr bwMode="auto">
            <a:xfrm>
              <a:off x="5489754" y="1004682"/>
              <a:ext cx="137005" cy="202908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auto">
            <a:xfrm>
              <a:off x="5854492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/>
          </p:nvSpPr>
          <p:spPr bwMode="auto">
            <a:xfrm>
              <a:off x="5854492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/>
          </p:nvSpPr>
          <p:spPr bwMode="auto">
            <a:xfrm>
              <a:off x="5912947" y="1006931"/>
              <a:ext cx="102906" cy="198411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030467" y="1043465"/>
              <a:ext cx="149183" cy="161877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Rectangle 15"/>
            <p:cNvSpPr>
              <a:spLocks noChangeArrowheads="1"/>
            </p:cNvSpPr>
            <p:nvPr/>
          </p:nvSpPr>
          <p:spPr bwMode="auto">
            <a:xfrm>
              <a:off x="6211923" y="981075"/>
              <a:ext cx="31663" cy="219770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6"/>
            <p:cNvSpPr>
              <a:spLocks noEditPoints="1"/>
            </p:cNvSpPr>
            <p:nvPr/>
          </p:nvSpPr>
          <p:spPr bwMode="auto">
            <a:xfrm>
              <a:off x="6282557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auto">
            <a:xfrm>
              <a:off x="6282557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8"/>
            <p:cNvSpPr>
              <a:spLocks noEditPoints="1"/>
            </p:cNvSpPr>
            <p:nvPr/>
          </p:nvSpPr>
          <p:spPr bwMode="auto">
            <a:xfrm>
              <a:off x="6348928" y="1043465"/>
              <a:ext cx="146139" cy="161877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auto">
            <a:xfrm>
              <a:off x="6529775" y="1043465"/>
              <a:ext cx="151619" cy="157380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4" name="Freeform 20"/>
            <p:cNvSpPr>
              <a:spLocks noEditPoints="1"/>
            </p:cNvSpPr>
            <p:nvPr/>
          </p:nvSpPr>
          <p:spPr bwMode="auto">
            <a:xfrm>
              <a:off x="6705750" y="1043465"/>
              <a:ext cx="159535" cy="161877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pic>
        <p:nvPicPr>
          <p:cNvPr id="25" name="Picture 2" descr="Prima_footer-giallo-v42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4688" y="6180148"/>
            <a:ext cx="8469312" cy="677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Text Placeholder 48"/>
          <p:cNvSpPr>
            <a:spLocks noGrp="1"/>
          </p:cNvSpPr>
          <p:nvPr>
            <p:ph type="body" sz="quarter" idx="11"/>
          </p:nvPr>
        </p:nvSpPr>
        <p:spPr>
          <a:xfrm>
            <a:off x="250826" y="1700213"/>
            <a:ext cx="8569324" cy="2438400"/>
          </a:xfrm>
          <a:prstGeom prst="rect">
            <a:avLst/>
          </a:prstGeom>
        </p:spPr>
        <p:txBody>
          <a:bodyPr lIns="91429" tIns="45715" rIns="91429" bIns="45715"/>
          <a:lstStyle>
            <a:lvl1pPr algn="ctr">
              <a:defRPr sz="3000"/>
            </a:lvl1pPr>
          </a:lstStyle>
          <a:p>
            <a:pPr lvl="0"/>
            <a:r>
              <a:rPr lang="it-IT" noProof="0"/>
              <a:t>Fare clic per modificare stili del testo dello schema</a:t>
            </a:r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2"/>
          </p:nvPr>
        </p:nvSpPr>
        <p:spPr>
          <a:xfrm>
            <a:off x="1258987" y="3617931"/>
            <a:ext cx="6769100" cy="1755775"/>
          </a:xfrm>
          <a:prstGeom prst="rect">
            <a:avLst/>
          </a:prstGeom>
        </p:spPr>
        <p:txBody>
          <a:bodyPr lIns="91429" tIns="45715" rIns="91429" bIns="45715"/>
          <a:lstStyle>
            <a:lvl1pPr algn="ctr">
              <a:defRPr sz="1725" baseline="0"/>
            </a:lvl1pPr>
          </a:lstStyle>
          <a:p>
            <a:pPr lvl="0"/>
            <a:r>
              <a:rPr lang="it-IT" noProof="0"/>
              <a:t>Fare clic per modificare stili del testo dello schema</a:t>
            </a:r>
          </a:p>
        </p:txBody>
      </p:sp>
      <p:sp>
        <p:nvSpPr>
          <p:cNvPr id="53" name="Text Placeholder 52"/>
          <p:cNvSpPr>
            <a:spLocks noGrp="1"/>
          </p:cNvSpPr>
          <p:nvPr>
            <p:ph type="body" sz="quarter" idx="13"/>
          </p:nvPr>
        </p:nvSpPr>
        <p:spPr>
          <a:xfrm>
            <a:off x="4141183" y="6314523"/>
            <a:ext cx="5002823" cy="476251"/>
          </a:xfrm>
          <a:prstGeom prst="rect">
            <a:avLst/>
          </a:prstGeom>
        </p:spPr>
        <p:txBody>
          <a:bodyPr lIns="91429" tIns="45715" rIns="91429" bIns="45715"/>
          <a:lstStyle>
            <a:lvl1pPr algn="ctr">
              <a:defRPr i="1"/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82818107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00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4B343FEC-9E6A-4B24-9D68-4BA5883045B3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sp>
        <p:nvSpPr>
          <p:cNvPr id="8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150442" y="73026"/>
            <a:ext cx="227947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900">
                <a:solidFill>
                  <a:srgbClr val="C41300"/>
                </a:solidFill>
              </a:rPr>
              <a:t>FOR DISCUSSION ONLY-RIPRODUZIONE VIETATA </a:t>
            </a:r>
          </a:p>
        </p:txBody>
      </p:sp>
      <p:grpSp>
        <p:nvGrpSpPr>
          <p:cNvPr id="9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4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5" name="Group 61"/>
          <p:cNvGrpSpPr>
            <a:grpSpLocks/>
          </p:cNvGrpSpPr>
          <p:nvPr/>
        </p:nvGrpSpPr>
        <p:grpSpPr bwMode="auto">
          <a:xfrm>
            <a:off x="0" y="608027"/>
            <a:ext cx="9144000" cy="41275"/>
            <a:chOff x="0" y="1187350"/>
            <a:chExt cx="9144000" cy="40942"/>
          </a:xfrm>
        </p:grpSpPr>
        <p:cxnSp>
          <p:nvCxnSpPr>
            <p:cNvPr id="26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19378617">
            <a:off x="1266825" y="3198320"/>
            <a:ext cx="6724651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6000">
                <a:solidFill>
                  <a:srgbClr val="F2F2F2"/>
                </a:solidFill>
              </a:rPr>
              <a:t>RISERVATO</a:t>
            </a:r>
          </a:p>
        </p:txBody>
      </p:sp>
      <p:graphicFrame>
        <p:nvGraphicFramePr>
          <p:cNvPr id="29" name="Object 3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01" name="Diapositiva think-cell" r:id="rId9" imgW="360" imgH="360" progId="TCLayout.ActiveDocument.1">
                  <p:embed/>
                </p:oleObj>
              </mc:Choice>
              <mc:Fallback>
                <p:oleObj name="Diapositiva think-cell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413" y="-306388"/>
            <a:ext cx="8272463" cy="831851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046" y="1509714"/>
            <a:ext cx="8274051" cy="4613275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24758615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24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5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76292450-433A-4E5C-9DAD-9423C04F9754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sp>
        <p:nvSpPr>
          <p:cNvPr id="6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150442" y="73026"/>
            <a:ext cx="227947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900">
                <a:solidFill>
                  <a:srgbClr val="C41300"/>
                </a:solidFill>
              </a:rPr>
              <a:t>FOR DISCUSSION ONLY-RIPRODUZIONE VIETATA </a:t>
            </a:r>
          </a:p>
        </p:txBody>
      </p:sp>
      <p:grpSp>
        <p:nvGrpSpPr>
          <p:cNvPr id="7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8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3" name="Group 61"/>
          <p:cNvGrpSpPr>
            <a:grpSpLocks/>
          </p:cNvGrpSpPr>
          <p:nvPr/>
        </p:nvGrpSpPr>
        <p:grpSpPr bwMode="auto">
          <a:xfrm>
            <a:off x="0" y="608027"/>
            <a:ext cx="9144000" cy="41275"/>
            <a:chOff x="0" y="1187350"/>
            <a:chExt cx="9144000" cy="40942"/>
          </a:xfrm>
        </p:grpSpPr>
        <p:cxnSp>
          <p:nvCxnSpPr>
            <p:cNvPr id="24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19378617">
            <a:off x="1266825" y="3198320"/>
            <a:ext cx="6724651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6000">
                <a:solidFill>
                  <a:srgbClr val="F2F2F2"/>
                </a:solidFill>
              </a:rPr>
              <a:t>RISERVATO</a:t>
            </a:r>
          </a:p>
        </p:txBody>
      </p:sp>
      <p:graphicFrame>
        <p:nvGraphicFramePr>
          <p:cNvPr id="27" name="Object 2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25" name="Diapositiva think-cell" r:id="rId9" imgW="360" imgH="360" progId="TCLayout.ActiveDocument.1">
                  <p:embed/>
                </p:oleObj>
              </mc:Choice>
              <mc:Fallback>
                <p:oleObj name="Diapositiva think-cell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413" y="-306388"/>
            <a:ext cx="8272463" cy="831851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95594819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248" name="Diapositiva think-cell" r:id="rId5" imgW="360" imgH="360" progId="TCLayout.ActiveDocument.1">
                  <p:embed/>
                </p:oleObj>
              </mc:Choice>
              <mc:Fallback>
                <p:oleObj name="Diapositiva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5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59BC4B99-3B48-4C0E-AD7C-5356FBDC4706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grpSp>
        <p:nvGrpSpPr>
          <p:cNvPr id="7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8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3" name="Group 61"/>
          <p:cNvGrpSpPr>
            <a:grpSpLocks/>
          </p:cNvGrpSpPr>
          <p:nvPr/>
        </p:nvGrpSpPr>
        <p:grpSpPr bwMode="auto">
          <a:xfrm>
            <a:off x="0" y="608027"/>
            <a:ext cx="9144000" cy="41275"/>
            <a:chOff x="0" y="1187350"/>
            <a:chExt cx="9144000" cy="40942"/>
          </a:xfrm>
        </p:grpSpPr>
        <p:cxnSp>
          <p:nvCxnSpPr>
            <p:cNvPr id="24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7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249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5860128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4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61" name="Diapositiva think-cell" r:id="rId4" imgW="0" imgH="0" progId="TCLayout.ActiveDocument.1">
                  <p:embed/>
                </p:oleObj>
              </mc:Choice>
              <mc:Fallback>
                <p:oleObj name="Diapositiva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4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11"/>
          <p:cNvGrpSpPr>
            <a:grpSpLocks/>
          </p:cNvGrpSpPr>
          <p:nvPr/>
        </p:nvGrpSpPr>
        <p:grpSpPr bwMode="auto">
          <a:xfrm>
            <a:off x="4" y="6"/>
            <a:ext cx="3578225" cy="630239"/>
            <a:chOff x="0" y="-1"/>
            <a:chExt cx="3876673" cy="630746"/>
          </a:xfrm>
        </p:grpSpPr>
        <p:sp>
          <p:nvSpPr>
            <p:cNvPr id="7" name="Freeform 6"/>
            <p:cNvSpPr>
              <a:spLocks noChangeAspect="1"/>
            </p:cNvSpPr>
            <p:nvPr userDrawn="1"/>
          </p:nvSpPr>
          <p:spPr bwMode="auto">
            <a:xfrm rot="10800000">
              <a:off x="772239" y="-1"/>
              <a:ext cx="3104434" cy="630746"/>
            </a:xfrm>
            <a:custGeom>
              <a:avLst/>
              <a:gdLst/>
              <a:ahLst/>
              <a:cxnLst>
                <a:cxn ang="0">
                  <a:pos x="1196" y="0"/>
                </a:cxn>
                <a:cxn ang="0">
                  <a:pos x="236" y="0"/>
                </a:cxn>
                <a:cxn ang="0">
                  <a:pos x="0" y="212"/>
                </a:cxn>
                <a:cxn ang="0">
                  <a:pos x="1196" y="212"/>
                </a:cxn>
                <a:cxn ang="0">
                  <a:pos x="1196" y="0"/>
                </a:cxn>
              </a:cxnLst>
              <a:rect l="0" t="0" r="r" b="b"/>
              <a:pathLst>
                <a:path w="1196" h="212">
                  <a:moveTo>
                    <a:pt x="1196" y="0"/>
                  </a:moveTo>
                  <a:cubicBezTo>
                    <a:pt x="236" y="0"/>
                    <a:pt x="236" y="0"/>
                    <a:pt x="236" y="0"/>
                  </a:cubicBezTo>
                  <a:cubicBezTo>
                    <a:pt x="106" y="0"/>
                    <a:pt x="0" y="95"/>
                    <a:pt x="0" y="212"/>
                  </a:cubicBezTo>
                  <a:cubicBezTo>
                    <a:pt x="1196" y="212"/>
                    <a:pt x="1196" y="212"/>
                    <a:pt x="1196" y="212"/>
                  </a:cubicBezTo>
                  <a:lnTo>
                    <a:pt x="1196" y="0"/>
                  </a:lnTo>
                  <a:close/>
                </a:path>
              </a:pathLst>
            </a:custGeom>
            <a:solidFill>
              <a:srgbClr val="F4E6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000000"/>
                </a:solidFill>
              </a:endParaRPr>
            </a:p>
          </p:txBody>
        </p:sp>
        <p:sp>
          <p:nvSpPr>
            <p:cNvPr id="8" name="Freeform 6"/>
            <p:cNvSpPr>
              <a:spLocks noChangeAspect="1"/>
            </p:cNvSpPr>
            <p:nvPr userDrawn="1"/>
          </p:nvSpPr>
          <p:spPr bwMode="auto">
            <a:xfrm rot="10800000">
              <a:off x="0" y="-1"/>
              <a:ext cx="3104435" cy="630746"/>
            </a:xfrm>
            <a:custGeom>
              <a:avLst/>
              <a:gdLst/>
              <a:ahLst/>
              <a:cxnLst>
                <a:cxn ang="0">
                  <a:pos x="1196" y="0"/>
                </a:cxn>
                <a:cxn ang="0">
                  <a:pos x="236" y="0"/>
                </a:cxn>
                <a:cxn ang="0">
                  <a:pos x="0" y="212"/>
                </a:cxn>
                <a:cxn ang="0">
                  <a:pos x="1196" y="212"/>
                </a:cxn>
                <a:cxn ang="0">
                  <a:pos x="1196" y="0"/>
                </a:cxn>
              </a:cxnLst>
              <a:rect l="0" t="0" r="r" b="b"/>
              <a:pathLst>
                <a:path w="1196" h="212">
                  <a:moveTo>
                    <a:pt x="1196" y="0"/>
                  </a:moveTo>
                  <a:cubicBezTo>
                    <a:pt x="236" y="0"/>
                    <a:pt x="236" y="0"/>
                    <a:pt x="236" y="0"/>
                  </a:cubicBezTo>
                  <a:cubicBezTo>
                    <a:pt x="106" y="0"/>
                    <a:pt x="0" y="95"/>
                    <a:pt x="0" y="212"/>
                  </a:cubicBezTo>
                  <a:cubicBezTo>
                    <a:pt x="1196" y="212"/>
                    <a:pt x="1196" y="212"/>
                    <a:pt x="1196" y="212"/>
                  </a:cubicBezTo>
                  <a:lnTo>
                    <a:pt x="1196" y="0"/>
                  </a:lnTo>
                  <a:close/>
                </a:path>
              </a:pathLst>
            </a:custGeom>
            <a:solidFill>
              <a:srgbClr val="F4E6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9" name="Group 29"/>
          <p:cNvGrpSpPr/>
          <p:nvPr/>
        </p:nvGrpSpPr>
        <p:grpSpPr>
          <a:xfrm>
            <a:off x="302130" y="155582"/>
            <a:ext cx="2208793" cy="273051"/>
            <a:chOff x="4880233" y="981075"/>
            <a:chExt cx="1985052" cy="226515"/>
          </a:xfrm>
          <a:solidFill>
            <a:srgbClr val="FF0000"/>
          </a:solidFill>
        </p:grpSpPr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5643808" y="1045713"/>
              <a:ext cx="185718" cy="161877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/>
          </p:nvSpPr>
          <p:spPr bwMode="auto">
            <a:xfrm>
              <a:off x="4880233" y="983323"/>
              <a:ext cx="217990" cy="219770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5100659" y="1045713"/>
              <a:ext cx="200332" cy="161877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FFFFFF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5313169" y="1045713"/>
              <a:ext cx="166842" cy="161877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FFFFFF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/>
          </p:nvSpPr>
          <p:spPr bwMode="auto">
            <a:xfrm>
              <a:off x="5489754" y="1004682"/>
              <a:ext cx="137005" cy="202908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FFFFFF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auto">
            <a:xfrm>
              <a:off x="5854492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FFFFFF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/>
          </p:nvSpPr>
          <p:spPr bwMode="auto">
            <a:xfrm>
              <a:off x="5854492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FFFFFF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/>
          </p:nvSpPr>
          <p:spPr bwMode="auto">
            <a:xfrm>
              <a:off x="5912947" y="1006931"/>
              <a:ext cx="102906" cy="198411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FFFFFF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030467" y="1043465"/>
              <a:ext cx="149183" cy="161877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5"/>
            <p:cNvSpPr>
              <a:spLocks noChangeArrowheads="1"/>
            </p:cNvSpPr>
            <p:nvPr/>
          </p:nvSpPr>
          <p:spPr bwMode="auto">
            <a:xfrm>
              <a:off x="6211923" y="981075"/>
              <a:ext cx="31663" cy="219770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FFFFFF"/>
                </a:solidFill>
              </a:endParaRPr>
            </a:p>
          </p:txBody>
        </p:sp>
        <p:sp>
          <p:nvSpPr>
            <p:cNvPr id="20" name="Freeform 16"/>
            <p:cNvSpPr>
              <a:spLocks noEditPoints="1"/>
            </p:cNvSpPr>
            <p:nvPr/>
          </p:nvSpPr>
          <p:spPr bwMode="auto">
            <a:xfrm>
              <a:off x="6282557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FFFFFF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auto">
            <a:xfrm>
              <a:off x="6282557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FFFFFF"/>
                </a:solidFill>
              </a:endParaRPr>
            </a:p>
          </p:txBody>
        </p:sp>
        <p:sp>
          <p:nvSpPr>
            <p:cNvPr id="22" name="Freeform 18"/>
            <p:cNvSpPr>
              <a:spLocks noEditPoints="1"/>
            </p:cNvSpPr>
            <p:nvPr/>
          </p:nvSpPr>
          <p:spPr bwMode="auto">
            <a:xfrm>
              <a:off x="6348928" y="1043465"/>
              <a:ext cx="146139" cy="161877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FFFFFF"/>
                </a:solidFill>
              </a:endParaRPr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auto">
            <a:xfrm>
              <a:off x="6529775" y="1043465"/>
              <a:ext cx="151619" cy="157380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FFFFFF"/>
                </a:solidFill>
              </a:endParaRPr>
            </a:p>
          </p:txBody>
        </p:sp>
        <p:sp>
          <p:nvSpPr>
            <p:cNvPr id="24" name="Freeform 20"/>
            <p:cNvSpPr>
              <a:spLocks noEditPoints="1"/>
            </p:cNvSpPr>
            <p:nvPr/>
          </p:nvSpPr>
          <p:spPr bwMode="auto">
            <a:xfrm>
              <a:off x="6705750" y="1043465"/>
              <a:ext cx="159535" cy="161877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25" name="Picture 2" descr="Prima_footer-giallo-v42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4688" y="6180148"/>
            <a:ext cx="8469312" cy="677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Text Placeholder 48"/>
          <p:cNvSpPr>
            <a:spLocks noGrp="1"/>
          </p:cNvSpPr>
          <p:nvPr>
            <p:ph type="body" sz="quarter" idx="11"/>
          </p:nvPr>
        </p:nvSpPr>
        <p:spPr>
          <a:xfrm>
            <a:off x="250826" y="1700213"/>
            <a:ext cx="8569324" cy="2438400"/>
          </a:xfrm>
          <a:prstGeom prst="rect">
            <a:avLst/>
          </a:prstGeom>
        </p:spPr>
        <p:txBody>
          <a:bodyPr lIns="91429" tIns="45715" rIns="91429" bIns="45715"/>
          <a:lstStyle>
            <a:lvl1pPr algn="ctr">
              <a:defRPr sz="3000"/>
            </a:lvl1pPr>
          </a:lstStyle>
          <a:p>
            <a:pPr lvl="0"/>
            <a:r>
              <a:rPr lang="it-IT" noProof="0"/>
              <a:t>Fare clic per modificare stili del testo dello schema</a:t>
            </a:r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2"/>
          </p:nvPr>
        </p:nvSpPr>
        <p:spPr>
          <a:xfrm>
            <a:off x="1258963" y="3617937"/>
            <a:ext cx="6769100" cy="1755775"/>
          </a:xfrm>
          <a:prstGeom prst="rect">
            <a:avLst/>
          </a:prstGeom>
        </p:spPr>
        <p:txBody>
          <a:bodyPr lIns="91429" tIns="45715" rIns="91429" bIns="45715"/>
          <a:lstStyle>
            <a:lvl1pPr algn="ctr">
              <a:defRPr sz="1725" baseline="0"/>
            </a:lvl1pPr>
          </a:lstStyle>
          <a:p>
            <a:pPr lvl="0"/>
            <a:r>
              <a:rPr lang="it-IT" noProof="0"/>
              <a:t>Fare clic per modificare stili del testo dello schema</a:t>
            </a:r>
          </a:p>
        </p:txBody>
      </p:sp>
      <p:sp>
        <p:nvSpPr>
          <p:cNvPr id="53" name="Text Placeholder 52"/>
          <p:cNvSpPr>
            <a:spLocks noGrp="1"/>
          </p:cNvSpPr>
          <p:nvPr>
            <p:ph type="body" sz="quarter" idx="13"/>
          </p:nvPr>
        </p:nvSpPr>
        <p:spPr>
          <a:xfrm>
            <a:off x="4141252" y="6314523"/>
            <a:ext cx="5002823" cy="476251"/>
          </a:xfrm>
          <a:prstGeom prst="rect">
            <a:avLst/>
          </a:prstGeom>
        </p:spPr>
        <p:txBody>
          <a:bodyPr lIns="91429" tIns="45715" rIns="91429" bIns="45715"/>
          <a:lstStyle>
            <a:lvl1pPr algn="ctr">
              <a:defRPr i="1"/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9008352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esto + Imm. s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egnaposto immagine 14"/>
          <p:cNvSpPr>
            <a:spLocks noGrp="1"/>
          </p:cNvSpPr>
          <p:nvPr>
            <p:ph type="pic" sz="quarter" idx="16"/>
          </p:nvPr>
        </p:nvSpPr>
        <p:spPr>
          <a:xfrm>
            <a:off x="278606" y="1016003"/>
            <a:ext cx="4221956" cy="509746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anchor="t"/>
          <a:lstStyle>
            <a:lvl1pPr marL="0" indent="0" algn="l">
              <a:buNone/>
              <a:defRPr/>
            </a:lvl1pPr>
          </a:lstStyle>
          <a:p>
            <a:r>
              <a:rPr lang="it-IT"/>
              <a:t>Fare clic sull'icona per inserire un'immagine</a:t>
            </a:r>
            <a:endParaRPr lang="it-IT" dirty="0"/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7"/>
          </p:nvPr>
        </p:nvSpPr>
        <p:spPr>
          <a:xfrm>
            <a:off x="8658416" y="6498211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14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4, </a:t>
            </a:r>
            <a:r>
              <a:rPr lang="it-IT" dirty="0" err="1"/>
              <a:t>bold</a:t>
            </a:r>
            <a:r>
              <a:rPr lang="it-IT" dirty="0"/>
              <a:t>, maiuscolo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6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8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35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4643438" y="2076449"/>
            <a:ext cx="4221956" cy="2905125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023646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296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9514125F-5EAB-4D5F-B8D0-F4C960DB664F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sp>
        <p:nvSpPr>
          <p:cNvPr id="8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150442" y="73026"/>
            <a:ext cx="227947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900">
                <a:solidFill>
                  <a:srgbClr val="C41300"/>
                </a:solidFill>
              </a:rPr>
              <a:t>FOR DISCUSSION ONLY-RIPRODUZIONE VIETATA </a:t>
            </a:r>
          </a:p>
        </p:txBody>
      </p:sp>
      <p:grpSp>
        <p:nvGrpSpPr>
          <p:cNvPr id="9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4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5" name="Group 61"/>
          <p:cNvGrpSpPr>
            <a:grpSpLocks/>
          </p:cNvGrpSpPr>
          <p:nvPr/>
        </p:nvGrpSpPr>
        <p:grpSpPr bwMode="auto">
          <a:xfrm>
            <a:off x="0" y="608027"/>
            <a:ext cx="9144000" cy="41275"/>
            <a:chOff x="0" y="1187350"/>
            <a:chExt cx="9144000" cy="40942"/>
          </a:xfrm>
        </p:grpSpPr>
        <p:cxnSp>
          <p:nvCxnSpPr>
            <p:cNvPr id="26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19378617">
            <a:off x="1266825" y="3198320"/>
            <a:ext cx="6724651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6000">
                <a:solidFill>
                  <a:srgbClr val="F2F2F2"/>
                </a:solidFill>
              </a:rPr>
              <a:t>RISERVATO</a:t>
            </a:r>
          </a:p>
        </p:txBody>
      </p:sp>
      <p:graphicFrame>
        <p:nvGraphicFramePr>
          <p:cNvPr id="29" name="Object 3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297" name="Diapositiva think-cell" r:id="rId9" imgW="360" imgH="360" progId="TCLayout.ActiveDocument.1">
                  <p:embed/>
                </p:oleObj>
              </mc:Choice>
              <mc:Fallback>
                <p:oleObj name="Diapositiva think-cell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413" y="-306388"/>
            <a:ext cx="8272463" cy="831851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046" y="1509714"/>
            <a:ext cx="8274051" cy="4613275"/>
          </a:xfrm>
          <a:prstGeom prst="rect">
            <a:avLst/>
          </a:prstGeom>
        </p:spPr>
        <p:txBody>
          <a:bodyPr lIns="91429" tIns="45715" rIns="91429" bIns="45715"/>
          <a:lstStyle>
            <a:lvl1pPr marL="172781" indent="-172781">
              <a:buFont typeface="Calibri" pitchFamily="34" charset="0"/>
              <a:buChar char="→"/>
              <a:defRPr b="0"/>
            </a:lvl1pPr>
            <a:lvl2pPr marL="342861" indent="-172781">
              <a:buFont typeface="Arial" pitchFamily="34" charset="0"/>
              <a:buChar char="•"/>
              <a:defRPr/>
            </a:lvl2pPr>
            <a:lvl3pPr marL="685722">
              <a:buFont typeface="Calibri" pitchFamily="34" charset="0"/>
              <a:buChar char="–"/>
              <a:defRPr/>
            </a:lvl3pPr>
            <a:lvl4pPr marL="1028584">
              <a:buFont typeface="Trebuchet MS" pitchFamily="34" charset="0"/>
              <a:buChar char="–"/>
              <a:defRPr/>
            </a:lvl4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</p:txBody>
      </p:sp>
    </p:spTree>
    <p:extLst>
      <p:ext uri="{BB962C8B-B14F-4D97-AF65-F5344CB8AC3E}">
        <p14:creationId xmlns:p14="http://schemas.microsoft.com/office/powerpoint/2010/main" val="361921115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320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4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6C19E20B-F481-4308-8DBF-BF8907B925A6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sp>
        <p:nvSpPr>
          <p:cNvPr id="5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150442" y="73026"/>
            <a:ext cx="227947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900">
                <a:solidFill>
                  <a:srgbClr val="C41300"/>
                </a:solidFill>
              </a:rPr>
              <a:t>FOR DISCUSSION ONLY-RIPRODUZIONE VIETATA </a:t>
            </a:r>
          </a:p>
        </p:txBody>
      </p:sp>
      <p:grpSp>
        <p:nvGrpSpPr>
          <p:cNvPr id="6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7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2" name="Group 61"/>
          <p:cNvGrpSpPr>
            <a:grpSpLocks/>
          </p:cNvGrpSpPr>
          <p:nvPr/>
        </p:nvGrpSpPr>
        <p:grpSpPr bwMode="auto">
          <a:xfrm>
            <a:off x="0" y="608027"/>
            <a:ext cx="9144000" cy="41275"/>
            <a:chOff x="0" y="1187350"/>
            <a:chExt cx="9144000" cy="40942"/>
          </a:xfrm>
        </p:grpSpPr>
        <p:cxnSp>
          <p:nvCxnSpPr>
            <p:cNvPr id="23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19378617">
            <a:off x="1266825" y="3198320"/>
            <a:ext cx="6724651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6000">
                <a:solidFill>
                  <a:srgbClr val="F2F2F2"/>
                </a:solidFill>
              </a:rPr>
              <a:t>RISERVATO</a:t>
            </a:r>
          </a:p>
        </p:txBody>
      </p:sp>
      <p:graphicFrame>
        <p:nvGraphicFramePr>
          <p:cNvPr id="26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321" name="Diapositiva think-cell" r:id="rId9" imgW="360" imgH="360" progId="TCLayout.ActiveDocument.1">
                  <p:embed/>
                </p:oleObj>
              </mc:Choice>
              <mc:Fallback>
                <p:oleObj name="Diapositiva think-cell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058889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0" y="145149"/>
            <a:ext cx="8274050" cy="385763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 sz="1350"/>
            </a:lvl1pPr>
          </a:lstStyle>
          <a:p>
            <a:r>
              <a:rPr lang="it-IT"/>
              <a:t>Fare clic per modificare lo stile del titolo</a:t>
            </a:r>
            <a:endParaRPr lang="fr-FR" dirty="0"/>
          </a:p>
        </p:txBody>
      </p:sp>
      <p:sp>
        <p:nvSpPr>
          <p:cNvPr id="9" name="Segnaposto testo 8"/>
          <p:cNvSpPr>
            <a:spLocks noGrp="1"/>
          </p:cNvSpPr>
          <p:nvPr>
            <p:ph type="body" sz="quarter" idx="11"/>
          </p:nvPr>
        </p:nvSpPr>
        <p:spPr>
          <a:xfrm>
            <a:off x="476268" y="1260919"/>
            <a:ext cx="8296275" cy="5372100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lnSpc>
                <a:spcPct val="120000"/>
              </a:lnSpc>
              <a:spcBef>
                <a:spcPts val="450"/>
              </a:spcBef>
              <a:defRPr sz="1050"/>
            </a:lvl1pPr>
            <a:lvl2pPr>
              <a:lnSpc>
                <a:spcPct val="120000"/>
              </a:lnSpc>
              <a:spcBef>
                <a:spcPts val="450"/>
              </a:spcBef>
              <a:defRPr sz="1050"/>
            </a:lvl2pPr>
            <a:lvl3pPr>
              <a:lnSpc>
                <a:spcPct val="120000"/>
              </a:lnSpc>
              <a:spcBef>
                <a:spcPts val="450"/>
              </a:spcBef>
              <a:defRPr sz="1050"/>
            </a:lvl3pPr>
            <a:lvl4pPr>
              <a:defRPr sz="1050"/>
            </a:lvl4pPr>
            <a:lvl5pPr>
              <a:defRPr sz="1350"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</p:spTree>
    <p:extLst>
      <p:ext uri="{BB962C8B-B14F-4D97-AF65-F5344CB8AC3E}">
        <p14:creationId xmlns:p14="http://schemas.microsoft.com/office/powerpoint/2010/main" val="75817474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4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33" name="Diapositiva think-cell" r:id="rId4" imgW="0" imgH="0" progId="TCLayout.ActiveDocument.1">
                  <p:embed/>
                </p:oleObj>
              </mc:Choice>
              <mc:Fallback>
                <p:oleObj name="Diapositiva think-cell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4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11"/>
          <p:cNvGrpSpPr>
            <a:grpSpLocks/>
          </p:cNvGrpSpPr>
          <p:nvPr/>
        </p:nvGrpSpPr>
        <p:grpSpPr bwMode="auto">
          <a:xfrm>
            <a:off x="4" y="6"/>
            <a:ext cx="3578225" cy="630239"/>
            <a:chOff x="0" y="-1"/>
            <a:chExt cx="3876673" cy="630746"/>
          </a:xfrm>
        </p:grpSpPr>
        <p:sp>
          <p:nvSpPr>
            <p:cNvPr id="7" name="Freeform 6"/>
            <p:cNvSpPr>
              <a:spLocks noChangeAspect="1"/>
            </p:cNvSpPr>
            <p:nvPr userDrawn="1"/>
          </p:nvSpPr>
          <p:spPr bwMode="auto">
            <a:xfrm rot="10800000">
              <a:off x="772239" y="-1"/>
              <a:ext cx="3104434" cy="630746"/>
            </a:xfrm>
            <a:custGeom>
              <a:avLst/>
              <a:gdLst/>
              <a:ahLst/>
              <a:cxnLst>
                <a:cxn ang="0">
                  <a:pos x="1196" y="0"/>
                </a:cxn>
                <a:cxn ang="0">
                  <a:pos x="236" y="0"/>
                </a:cxn>
                <a:cxn ang="0">
                  <a:pos x="0" y="212"/>
                </a:cxn>
                <a:cxn ang="0">
                  <a:pos x="1196" y="212"/>
                </a:cxn>
                <a:cxn ang="0">
                  <a:pos x="1196" y="0"/>
                </a:cxn>
              </a:cxnLst>
              <a:rect l="0" t="0" r="r" b="b"/>
              <a:pathLst>
                <a:path w="1196" h="212">
                  <a:moveTo>
                    <a:pt x="1196" y="0"/>
                  </a:moveTo>
                  <a:cubicBezTo>
                    <a:pt x="236" y="0"/>
                    <a:pt x="236" y="0"/>
                    <a:pt x="236" y="0"/>
                  </a:cubicBezTo>
                  <a:cubicBezTo>
                    <a:pt x="106" y="0"/>
                    <a:pt x="0" y="95"/>
                    <a:pt x="0" y="212"/>
                  </a:cubicBezTo>
                  <a:cubicBezTo>
                    <a:pt x="1196" y="212"/>
                    <a:pt x="1196" y="212"/>
                    <a:pt x="1196" y="212"/>
                  </a:cubicBezTo>
                  <a:lnTo>
                    <a:pt x="1196" y="0"/>
                  </a:lnTo>
                  <a:close/>
                </a:path>
              </a:pathLst>
            </a:custGeom>
            <a:solidFill>
              <a:srgbClr val="F4E6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000000"/>
                </a:solidFill>
              </a:endParaRPr>
            </a:p>
          </p:txBody>
        </p:sp>
        <p:sp>
          <p:nvSpPr>
            <p:cNvPr id="8" name="Freeform 6"/>
            <p:cNvSpPr>
              <a:spLocks noChangeAspect="1"/>
            </p:cNvSpPr>
            <p:nvPr userDrawn="1"/>
          </p:nvSpPr>
          <p:spPr bwMode="auto">
            <a:xfrm rot="10800000">
              <a:off x="0" y="-1"/>
              <a:ext cx="3104435" cy="630746"/>
            </a:xfrm>
            <a:custGeom>
              <a:avLst/>
              <a:gdLst/>
              <a:ahLst/>
              <a:cxnLst>
                <a:cxn ang="0">
                  <a:pos x="1196" y="0"/>
                </a:cxn>
                <a:cxn ang="0">
                  <a:pos x="236" y="0"/>
                </a:cxn>
                <a:cxn ang="0">
                  <a:pos x="0" y="212"/>
                </a:cxn>
                <a:cxn ang="0">
                  <a:pos x="1196" y="212"/>
                </a:cxn>
                <a:cxn ang="0">
                  <a:pos x="1196" y="0"/>
                </a:cxn>
              </a:cxnLst>
              <a:rect l="0" t="0" r="r" b="b"/>
              <a:pathLst>
                <a:path w="1196" h="212">
                  <a:moveTo>
                    <a:pt x="1196" y="0"/>
                  </a:moveTo>
                  <a:cubicBezTo>
                    <a:pt x="236" y="0"/>
                    <a:pt x="236" y="0"/>
                    <a:pt x="236" y="0"/>
                  </a:cubicBezTo>
                  <a:cubicBezTo>
                    <a:pt x="106" y="0"/>
                    <a:pt x="0" y="95"/>
                    <a:pt x="0" y="212"/>
                  </a:cubicBezTo>
                  <a:cubicBezTo>
                    <a:pt x="1196" y="212"/>
                    <a:pt x="1196" y="212"/>
                    <a:pt x="1196" y="212"/>
                  </a:cubicBezTo>
                  <a:lnTo>
                    <a:pt x="1196" y="0"/>
                  </a:lnTo>
                  <a:close/>
                </a:path>
              </a:pathLst>
            </a:custGeom>
            <a:solidFill>
              <a:srgbClr val="F4E6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000000"/>
                </a:solidFill>
              </a:endParaRPr>
            </a:p>
          </p:txBody>
        </p:sp>
      </p:grpSp>
      <p:grpSp>
        <p:nvGrpSpPr>
          <p:cNvPr id="9" name="Group 29"/>
          <p:cNvGrpSpPr/>
          <p:nvPr/>
        </p:nvGrpSpPr>
        <p:grpSpPr>
          <a:xfrm>
            <a:off x="302130" y="155582"/>
            <a:ext cx="2208793" cy="273051"/>
            <a:chOff x="4880233" y="981075"/>
            <a:chExt cx="1985052" cy="226515"/>
          </a:xfrm>
          <a:solidFill>
            <a:srgbClr val="FF0000"/>
          </a:solidFill>
        </p:grpSpPr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5643808" y="1045713"/>
              <a:ext cx="185718" cy="161877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/>
          </p:nvSpPr>
          <p:spPr bwMode="auto">
            <a:xfrm>
              <a:off x="4880233" y="983323"/>
              <a:ext cx="217990" cy="219770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5100659" y="1045713"/>
              <a:ext cx="200332" cy="161877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5313169" y="1045713"/>
              <a:ext cx="166842" cy="161877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/>
          </p:nvSpPr>
          <p:spPr bwMode="auto">
            <a:xfrm>
              <a:off x="5489754" y="1004682"/>
              <a:ext cx="137005" cy="202908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auto">
            <a:xfrm>
              <a:off x="5854492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/>
          </p:nvSpPr>
          <p:spPr bwMode="auto">
            <a:xfrm>
              <a:off x="5854492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/>
          </p:nvSpPr>
          <p:spPr bwMode="auto">
            <a:xfrm>
              <a:off x="5912947" y="1006931"/>
              <a:ext cx="102906" cy="198411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030467" y="1043465"/>
              <a:ext cx="149183" cy="161877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Rectangle 15"/>
            <p:cNvSpPr>
              <a:spLocks noChangeArrowheads="1"/>
            </p:cNvSpPr>
            <p:nvPr/>
          </p:nvSpPr>
          <p:spPr bwMode="auto">
            <a:xfrm>
              <a:off x="6211923" y="981075"/>
              <a:ext cx="31663" cy="219770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6"/>
            <p:cNvSpPr>
              <a:spLocks noEditPoints="1"/>
            </p:cNvSpPr>
            <p:nvPr/>
          </p:nvSpPr>
          <p:spPr bwMode="auto">
            <a:xfrm>
              <a:off x="6282557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auto">
            <a:xfrm>
              <a:off x="6282557" y="981075"/>
              <a:ext cx="38970" cy="21977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8"/>
            <p:cNvSpPr>
              <a:spLocks noEditPoints="1"/>
            </p:cNvSpPr>
            <p:nvPr/>
          </p:nvSpPr>
          <p:spPr bwMode="auto">
            <a:xfrm>
              <a:off x="6348928" y="1043465"/>
              <a:ext cx="146139" cy="161877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auto">
            <a:xfrm>
              <a:off x="6529775" y="1043465"/>
              <a:ext cx="151619" cy="157380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4" name="Freeform 20"/>
            <p:cNvSpPr>
              <a:spLocks noEditPoints="1"/>
            </p:cNvSpPr>
            <p:nvPr/>
          </p:nvSpPr>
          <p:spPr bwMode="auto">
            <a:xfrm>
              <a:off x="6705750" y="1043465"/>
              <a:ext cx="159535" cy="161877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pic>
        <p:nvPicPr>
          <p:cNvPr id="25" name="Picture 2" descr="Prima_footer-giallo-v42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4688" y="6180148"/>
            <a:ext cx="8469312" cy="677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Text Placeholder 48"/>
          <p:cNvSpPr>
            <a:spLocks noGrp="1"/>
          </p:cNvSpPr>
          <p:nvPr>
            <p:ph type="body" sz="quarter" idx="11"/>
          </p:nvPr>
        </p:nvSpPr>
        <p:spPr>
          <a:xfrm>
            <a:off x="250826" y="1700213"/>
            <a:ext cx="8569324" cy="2438400"/>
          </a:xfrm>
          <a:prstGeom prst="rect">
            <a:avLst/>
          </a:prstGeom>
        </p:spPr>
        <p:txBody>
          <a:bodyPr lIns="91429" tIns="45715" rIns="91429" bIns="45715"/>
          <a:lstStyle>
            <a:lvl1pPr algn="ctr">
              <a:defRPr sz="3000"/>
            </a:lvl1pPr>
          </a:lstStyle>
          <a:p>
            <a:pPr lvl="0"/>
            <a:r>
              <a:rPr lang="it-IT" noProof="0"/>
              <a:t>Fare clic per modificare stili del testo dello schema</a:t>
            </a:r>
          </a:p>
        </p:txBody>
      </p:sp>
      <p:sp>
        <p:nvSpPr>
          <p:cNvPr id="51" name="Text Placeholder 50"/>
          <p:cNvSpPr>
            <a:spLocks noGrp="1"/>
          </p:cNvSpPr>
          <p:nvPr>
            <p:ph type="body" sz="quarter" idx="12"/>
          </p:nvPr>
        </p:nvSpPr>
        <p:spPr>
          <a:xfrm>
            <a:off x="1258918" y="3617931"/>
            <a:ext cx="6769100" cy="1755775"/>
          </a:xfrm>
          <a:prstGeom prst="rect">
            <a:avLst/>
          </a:prstGeom>
        </p:spPr>
        <p:txBody>
          <a:bodyPr lIns="91429" tIns="45715" rIns="91429" bIns="45715"/>
          <a:lstStyle>
            <a:lvl1pPr algn="ctr">
              <a:defRPr sz="1725" baseline="0"/>
            </a:lvl1pPr>
          </a:lstStyle>
          <a:p>
            <a:pPr lvl="0"/>
            <a:r>
              <a:rPr lang="it-IT" noProof="0"/>
              <a:t>Fare clic per modificare stili del testo dello schema</a:t>
            </a:r>
          </a:p>
        </p:txBody>
      </p:sp>
      <p:sp>
        <p:nvSpPr>
          <p:cNvPr id="53" name="Text Placeholder 52"/>
          <p:cNvSpPr>
            <a:spLocks noGrp="1"/>
          </p:cNvSpPr>
          <p:nvPr>
            <p:ph type="body" sz="quarter" idx="13"/>
          </p:nvPr>
        </p:nvSpPr>
        <p:spPr>
          <a:xfrm>
            <a:off x="4141183" y="6314523"/>
            <a:ext cx="5002823" cy="476251"/>
          </a:xfrm>
          <a:prstGeom prst="rect">
            <a:avLst/>
          </a:prstGeom>
        </p:spPr>
        <p:txBody>
          <a:bodyPr lIns="91429" tIns="45715" rIns="91429" bIns="45715"/>
          <a:lstStyle>
            <a:lvl1pPr algn="ctr">
              <a:defRPr i="1"/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80846555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68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8C771F98-2C10-4063-8A97-4A7610DA467A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sp>
        <p:nvSpPr>
          <p:cNvPr id="8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150442" y="73026"/>
            <a:ext cx="227947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900">
                <a:solidFill>
                  <a:srgbClr val="C41300"/>
                </a:solidFill>
              </a:rPr>
              <a:t>FOR DISCUSSION ONLY-RIPRODUZIONE VIETATA </a:t>
            </a:r>
          </a:p>
        </p:txBody>
      </p:sp>
      <p:grpSp>
        <p:nvGrpSpPr>
          <p:cNvPr id="9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4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5" name="Group 61"/>
          <p:cNvGrpSpPr>
            <a:grpSpLocks/>
          </p:cNvGrpSpPr>
          <p:nvPr/>
        </p:nvGrpSpPr>
        <p:grpSpPr bwMode="auto">
          <a:xfrm>
            <a:off x="0" y="608027"/>
            <a:ext cx="9144000" cy="41275"/>
            <a:chOff x="0" y="1187350"/>
            <a:chExt cx="9144000" cy="40942"/>
          </a:xfrm>
        </p:grpSpPr>
        <p:cxnSp>
          <p:nvCxnSpPr>
            <p:cNvPr id="26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19378617">
            <a:off x="1266825" y="3198320"/>
            <a:ext cx="6724651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6000">
                <a:solidFill>
                  <a:srgbClr val="F2F2F2"/>
                </a:solidFill>
              </a:rPr>
              <a:t>RISERVATO</a:t>
            </a:r>
          </a:p>
        </p:txBody>
      </p:sp>
      <p:graphicFrame>
        <p:nvGraphicFramePr>
          <p:cNvPr id="29" name="Object 3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69" name="Diapositiva think-cell" r:id="rId9" imgW="360" imgH="360" progId="TCLayout.ActiveDocument.1">
                  <p:embed/>
                </p:oleObj>
              </mc:Choice>
              <mc:Fallback>
                <p:oleObj name="Diapositiva think-cell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413" y="-306388"/>
            <a:ext cx="8272463" cy="831851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007" y="1509714"/>
            <a:ext cx="8274051" cy="4613275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96794522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92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6"/>
          <p:cNvSpPr>
            <a:spLocks noChangeAspect="1"/>
          </p:cNvSpPr>
          <p:nvPr/>
        </p:nvSpPr>
        <p:spPr bwMode="auto">
          <a:xfrm>
            <a:off x="6594482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484695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CCEB146D-9B7E-4E39-A0A3-71A8E4D576EF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sp>
        <p:nvSpPr>
          <p:cNvPr id="8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150442" y="73026"/>
            <a:ext cx="227947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900">
                <a:solidFill>
                  <a:srgbClr val="C41300"/>
                </a:solidFill>
              </a:rPr>
              <a:t>FOR DISCUSSION ONLY-RIPRODUZIONE VIETATA </a:t>
            </a:r>
          </a:p>
        </p:txBody>
      </p:sp>
      <p:grpSp>
        <p:nvGrpSpPr>
          <p:cNvPr id="9" name="Group 45"/>
          <p:cNvGrpSpPr>
            <a:grpSpLocks/>
          </p:cNvGrpSpPr>
          <p:nvPr/>
        </p:nvGrpSpPr>
        <p:grpSpPr bwMode="auto">
          <a:xfrm>
            <a:off x="7037388" y="6505589"/>
            <a:ext cx="1831976" cy="227013"/>
            <a:chOff x="4653757" y="2387600"/>
            <a:chExt cx="5606520" cy="639763"/>
          </a:xfrm>
        </p:grpSpPr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4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5" name="Group 61"/>
          <p:cNvGrpSpPr>
            <a:grpSpLocks/>
          </p:cNvGrpSpPr>
          <p:nvPr/>
        </p:nvGrpSpPr>
        <p:grpSpPr bwMode="auto">
          <a:xfrm>
            <a:off x="0" y="608027"/>
            <a:ext cx="9144000" cy="41275"/>
            <a:chOff x="0" y="1187350"/>
            <a:chExt cx="9144000" cy="40942"/>
          </a:xfrm>
        </p:grpSpPr>
        <p:cxnSp>
          <p:nvCxnSpPr>
            <p:cNvPr id="26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19378617">
            <a:off x="1266825" y="3198320"/>
            <a:ext cx="6724651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6000">
                <a:solidFill>
                  <a:srgbClr val="F2F2F2"/>
                </a:solidFill>
              </a:rPr>
              <a:t>RISERVATO</a:t>
            </a:r>
          </a:p>
        </p:txBody>
      </p:sp>
      <p:graphicFrame>
        <p:nvGraphicFramePr>
          <p:cNvPr id="29" name="Object 3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95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93" name="Diapositiva think-cell" r:id="rId9" imgW="360" imgH="360" progId="TCLayout.ActiveDocument.1">
                  <p:embed/>
                </p:oleObj>
              </mc:Choice>
              <mc:Fallback>
                <p:oleObj name="Diapositiva think-cell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413" y="-306388"/>
            <a:ext cx="8272463" cy="831851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007" y="1509714"/>
            <a:ext cx="8274051" cy="4613275"/>
          </a:xfrm>
          <a:prstGeom prst="rect">
            <a:avLst/>
          </a:prstGeom>
        </p:spPr>
        <p:txBody>
          <a:bodyPr lIns="91429" tIns="45715" rIns="91429" bIns="45715"/>
          <a:lstStyle>
            <a:lvl1pPr marL="172781" indent="-172781">
              <a:buFont typeface="Calibri" pitchFamily="34" charset="0"/>
              <a:buChar char="→"/>
              <a:defRPr b="0"/>
            </a:lvl1pPr>
            <a:lvl2pPr marL="342861" indent="-172781">
              <a:buFont typeface="Arial" pitchFamily="34" charset="0"/>
              <a:buChar char="•"/>
              <a:defRPr/>
            </a:lvl2pPr>
            <a:lvl3pPr marL="685722">
              <a:buFont typeface="Calibri" pitchFamily="34" charset="0"/>
              <a:buChar char="–"/>
              <a:defRPr/>
            </a:lvl3pPr>
            <a:lvl4pPr marL="1028584">
              <a:buFont typeface="Trebuchet MS" pitchFamily="34" charset="0"/>
              <a:buChar char="–"/>
              <a:defRPr/>
            </a:lvl4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</p:txBody>
      </p:sp>
    </p:spTree>
    <p:extLst>
      <p:ext uri="{BB962C8B-B14F-4D97-AF65-F5344CB8AC3E}">
        <p14:creationId xmlns:p14="http://schemas.microsoft.com/office/powerpoint/2010/main" val="229464508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4476" y="40341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239823281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6" name="Rectangle 34"/>
          <p:cNvSpPr>
            <a:spLocks noGrp="1" noChangeArrowheads="1"/>
          </p:cNvSpPr>
          <p:nvPr>
            <p:ph type="ctrTitle"/>
          </p:nvPr>
        </p:nvSpPr>
        <p:spPr>
          <a:xfrm>
            <a:off x="250827" y="1700213"/>
            <a:ext cx="8569325" cy="2438400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ct val="50000"/>
              </a:spcBef>
              <a:defRPr sz="3000">
                <a:latin typeface="Arial Black" pitchFamily="34" charset="0"/>
              </a:defRPr>
            </a:lvl1pPr>
          </a:lstStyle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111" name="Rectangle 39"/>
          <p:cNvSpPr>
            <a:spLocks noGrp="1" noChangeArrowheads="1"/>
          </p:cNvSpPr>
          <p:nvPr>
            <p:ph type="subTitle" idx="1"/>
          </p:nvPr>
        </p:nvSpPr>
        <p:spPr>
          <a:xfrm>
            <a:off x="1258888" y="3617917"/>
            <a:ext cx="6769100" cy="175577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ct val="50000"/>
              </a:spcBef>
              <a:buFontTx/>
              <a:buNone/>
              <a:defRPr sz="1800" b="1"/>
            </a:lvl1pPr>
          </a:lstStyle>
          <a:p>
            <a:r>
              <a:rPr lang="it-IT"/>
              <a:t>Fare clic per modificare lo stile del sottotitolo dello schem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677149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pertina + Imm GIA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12"/>
          <p:cNvSpPr/>
          <p:nvPr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9" name="Rettangolo 28"/>
          <p:cNvSpPr/>
          <p:nvPr/>
        </p:nvSpPr>
        <p:spPr>
          <a:xfrm>
            <a:off x="4877991" y="4105202"/>
            <a:ext cx="4000500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srgbClr val="706F6F"/>
              </a:solidFill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ctrTitle" hasCustomPrompt="1"/>
          </p:nvPr>
        </p:nvSpPr>
        <p:spPr>
          <a:xfrm>
            <a:off x="4878221" y="836613"/>
            <a:ext cx="4000500" cy="23876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it-IT" dirty="0"/>
              <a:t>TITOLO SEZIONE</a:t>
            </a:r>
          </a:p>
        </p:txBody>
      </p:sp>
      <p:sp>
        <p:nvSpPr>
          <p:cNvPr id="25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4878221" y="3582922"/>
            <a:ext cx="4000500" cy="646331"/>
          </a:xfrm>
          <a:prstGeom prst="rect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marL="0" indent="0" algn="l">
              <a:buNone/>
              <a:defRPr sz="1800" b="1" cap="all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 dirty="0"/>
              <a:t>SOTTOTITOLO</a:t>
            </a:r>
          </a:p>
        </p:txBody>
      </p:sp>
      <p:cxnSp>
        <p:nvCxnSpPr>
          <p:cNvPr id="26" name="Connettore diritto 25"/>
          <p:cNvCxnSpPr/>
          <p:nvPr/>
        </p:nvCxnSpPr>
        <p:spPr>
          <a:xfrm flipV="1">
            <a:off x="4586098" y="3351212"/>
            <a:ext cx="4000500" cy="14381"/>
          </a:xfrm>
          <a:prstGeom prst="line">
            <a:avLst/>
          </a:prstGeom>
          <a:ln w="2540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ttore diritto 26"/>
          <p:cNvCxnSpPr/>
          <p:nvPr/>
        </p:nvCxnSpPr>
        <p:spPr>
          <a:xfrm>
            <a:off x="4878221" y="5661025"/>
            <a:ext cx="4000500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Segnaposto testo 23"/>
          <p:cNvSpPr>
            <a:spLocks noGrp="1"/>
          </p:cNvSpPr>
          <p:nvPr>
            <p:ph type="body" sz="quarter" idx="13" hasCustomPrompt="1"/>
          </p:nvPr>
        </p:nvSpPr>
        <p:spPr>
          <a:xfrm>
            <a:off x="4877991" y="4321271"/>
            <a:ext cx="4000500" cy="72548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350" dirty="0" smtClean="0">
                <a:solidFill>
                  <a:schemeClr val="tx1"/>
                </a:solidFill>
              </a:defRPr>
            </a:lvl1pPr>
          </a:lstStyle>
          <a:p>
            <a:pPr marL="171450" lvl="0" indent="-171450"/>
            <a:r>
              <a:rPr lang="it-IT" dirty="0"/>
              <a:t>NOTE</a:t>
            </a:r>
          </a:p>
        </p:txBody>
      </p:sp>
      <p:sp>
        <p:nvSpPr>
          <p:cNvPr id="31" name="Segnaposto immagine 30"/>
          <p:cNvSpPr>
            <a:spLocks noGrp="1"/>
          </p:cNvSpPr>
          <p:nvPr>
            <p:ph type="pic" sz="quarter" idx="14"/>
          </p:nvPr>
        </p:nvSpPr>
        <p:spPr>
          <a:xfrm>
            <a:off x="-230" y="0"/>
            <a:ext cx="4572000" cy="6858000"/>
          </a:xfrm>
          <a:prstGeom prst="rect">
            <a:avLst/>
          </a:prstGeo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700"/>
            </a:lvl1pPr>
          </a:lstStyle>
          <a:p>
            <a:r>
              <a:rPr lang="it-IT"/>
              <a:t>Fare clic sull'icona per inserire un'immagine</a:t>
            </a:r>
          </a:p>
        </p:txBody>
      </p:sp>
      <p:sp>
        <p:nvSpPr>
          <p:cNvPr id="15" name="Rettangolo 14"/>
          <p:cNvSpPr/>
          <p:nvPr/>
        </p:nvSpPr>
        <p:spPr>
          <a:xfrm>
            <a:off x="5993458" y="6498232"/>
            <a:ext cx="2593142" cy="35979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17" name="Immagine 16" descr="PI_logo_o_RGB_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0466" y="6498232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19" name="Rettangolo 18"/>
          <p:cNvSpPr/>
          <p:nvPr/>
        </p:nvSpPr>
        <p:spPr>
          <a:xfrm>
            <a:off x="8586598" y="5433348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0" name="Rettangolo 19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4" name="Rettangolo 13"/>
          <p:cNvSpPr/>
          <p:nvPr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6" name="Rettangolo 15"/>
          <p:cNvSpPr/>
          <p:nvPr/>
        </p:nvSpPr>
        <p:spPr>
          <a:xfrm>
            <a:off x="4877991" y="4105202"/>
            <a:ext cx="4000500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srgbClr val="706F6F"/>
              </a:solidFill>
            </a:endParaRPr>
          </a:p>
        </p:txBody>
      </p:sp>
      <p:cxnSp>
        <p:nvCxnSpPr>
          <p:cNvPr id="18" name="Connettore diritto 17"/>
          <p:cNvCxnSpPr/>
          <p:nvPr/>
        </p:nvCxnSpPr>
        <p:spPr>
          <a:xfrm flipV="1">
            <a:off x="4586098" y="3351212"/>
            <a:ext cx="4000500" cy="14381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ttore diritto 20"/>
          <p:cNvCxnSpPr/>
          <p:nvPr/>
        </p:nvCxnSpPr>
        <p:spPr>
          <a:xfrm>
            <a:off x="4878221" y="5661025"/>
            <a:ext cx="4000500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ttangolo 21"/>
          <p:cNvSpPr/>
          <p:nvPr/>
        </p:nvSpPr>
        <p:spPr>
          <a:xfrm>
            <a:off x="5993458" y="6498232"/>
            <a:ext cx="2593142" cy="35979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23" name="Immagine 22" descr="PI_logo_o_RGB_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0466" y="6498232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24" name="Rettangolo 23"/>
          <p:cNvSpPr/>
          <p:nvPr/>
        </p:nvSpPr>
        <p:spPr>
          <a:xfrm>
            <a:off x="8586598" y="5433348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0" name="Rettangolo 29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5" hasCustomPrompt="1"/>
          </p:nvPr>
        </p:nvSpPr>
        <p:spPr>
          <a:xfrm>
            <a:off x="5993618" y="6497638"/>
            <a:ext cx="2593181" cy="360362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>
              <a:buNone/>
              <a:defRPr sz="675"/>
            </a:lvl1pPr>
            <a:lvl2pPr marL="342900" indent="0">
              <a:buNone/>
              <a:defRPr sz="600"/>
            </a:lvl2pPr>
            <a:lvl3pPr marL="685800" indent="0">
              <a:buNone/>
              <a:defRPr sz="525"/>
            </a:lvl3pPr>
            <a:lvl4pPr marL="1028700" indent="0">
              <a:buNone/>
              <a:defRPr sz="450"/>
            </a:lvl4pPr>
            <a:lvl5pPr marL="1371600" indent="0">
              <a:buNone/>
              <a:defRPr sz="450"/>
            </a:lvl5pPr>
          </a:lstStyle>
          <a:p>
            <a:pPr lvl="0"/>
            <a:r>
              <a:rPr lang="it-IT" dirty="0"/>
              <a:t>Struttura 1° livello - Struttura 2° livello - Struttura 3° livello </a:t>
            </a:r>
          </a:p>
        </p:txBody>
      </p:sp>
      <p:sp>
        <p:nvSpPr>
          <p:cNvPr id="32" name="Rettangolo 31"/>
          <p:cNvSpPr/>
          <p:nvPr userDrawn="1"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3" name="Rettangolo 32"/>
          <p:cNvSpPr/>
          <p:nvPr userDrawn="1"/>
        </p:nvSpPr>
        <p:spPr>
          <a:xfrm>
            <a:off x="4877991" y="4105202"/>
            <a:ext cx="4000500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srgbClr val="706F6F"/>
              </a:solidFill>
            </a:endParaRPr>
          </a:p>
        </p:txBody>
      </p:sp>
      <p:cxnSp>
        <p:nvCxnSpPr>
          <p:cNvPr id="34" name="Connettore diritto 33"/>
          <p:cNvCxnSpPr/>
          <p:nvPr userDrawn="1"/>
        </p:nvCxnSpPr>
        <p:spPr>
          <a:xfrm flipV="1">
            <a:off x="4586098" y="3351212"/>
            <a:ext cx="4000500" cy="14381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ttore diritto 34"/>
          <p:cNvCxnSpPr/>
          <p:nvPr userDrawn="1"/>
        </p:nvCxnSpPr>
        <p:spPr>
          <a:xfrm>
            <a:off x="4878221" y="5661025"/>
            <a:ext cx="4000500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Immagine 36" descr="PI_logo_o_RGB_p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0466" y="6498232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38" name="Rettangolo 37"/>
          <p:cNvSpPr/>
          <p:nvPr userDrawn="1"/>
        </p:nvSpPr>
        <p:spPr>
          <a:xfrm>
            <a:off x="8586598" y="5433348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9" name="Rettangolo 38"/>
          <p:cNvSpPr/>
          <p:nvPr userDrawn="1"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595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pertina GIA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ttangolo 24"/>
          <p:cNvSpPr/>
          <p:nvPr/>
        </p:nvSpPr>
        <p:spPr>
          <a:xfrm>
            <a:off x="366736" y="3557228"/>
            <a:ext cx="7169663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706F6F"/>
              </a:solidFill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366736" y="810926"/>
            <a:ext cx="7169663" cy="2387600"/>
          </a:xfrm>
        </p:spPr>
        <p:txBody>
          <a:bodyPr anchor="b">
            <a:noAutofit/>
          </a:bodyPr>
          <a:lstStyle>
            <a:lvl1pPr algn="l"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66736" y="3557231"/>
            <a:ext cx="7169663" cy="64633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>
              <a:buNone/>
              <a:defRPr sz="1800" b="1" cap="all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 dirty="0"/>
              <a:t>sottotitolo</a:t>
            </a:r>
          </a:p>
        </p:txBody>
      </p:sp>
      <p:cxnSp>
        <p:nvCxnSpPr>
          <p:cNvPr id="17" name="Connettore diritto 16"/>
          <p:cNvCxnSpPr/>
          <p:nvPr/>
        </p:nvCxnSpPr>
        <p:spPr>
          <a:xfrm>
            <a:off x="366736" y="3465226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diritto 17"/>
          <p:cNvCxnSpPr/>
          <p:nvPr/>
        </p:nvCxnSpPr>
        <p:spPr>
          <a:xfrm>
            <a:off x="366736" y="5113051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egnaposto testo 23"/>
          <p:cNvSpPr>
            <a:spLocks noGrp="1"/>
          </p:cNvSpPr>
          <p:nvPr>
            <p:ph type="body" sz="quarter" idx="13" hasCustomPrompt="1"/>
          </p:nvPr>
        </p:nvSpPr>
        <p:spPr>
          <a:xfrm>
            <a:off x="366513" y="4295584"/>
            <a:ext cx="7169663" cy="72548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350" dirty="0" smtClean="0">
                <a:solidFill>
                  <a:schemeClr val="tx1"/>
                </a:solidFill>
              </a:defRPr>
            </a:lvl1pPr>
          </a:lstStyle>
          <a:p>
            <a:pPr marL="171450" lvl="0" indent="-171450"/>
            <a:r>
              <a:rPr lang="it-IT" dirty="0"/>
              <a:t>NOTE</a:t>
            </a:r>
          </a:p>
        </p:txBody>
      </p:sp>
      <p:cxnSp>
        <p:nvCxnSpPr>
          <p:cNvPr id="26" name="Connettore diritto 25"/>
          <p:cNvCxnSpPr/>
          <p:nvPr/>
        </p:nvCxnSpPr>
        <p:spPr>
          <a:xfrm>
            <a:off x="4" y="3304055"/>
            <a:ext cx="8586599" cy="0"/>
          </a:xfrm>
          <a:prstGeom prst="line">
            <a:avLst/>
          </a:prstGeom>
          <a:ln w="50800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ttangolo 32"/>
          <p:cNvSpPr/>
          <p:nvPr/>
        </p:nvSpPr>
        <p:spPr>
          <a:xfrm>
            <a:off x="1967034" y="6498232"/>
            <a:ext cx="6619564" cy="35979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4" name="Rettangolo 33"/>
          <p:cNvSpPr/>
          <p:nvPr/>
        </p:nvSpPr>
        <p:spPr>
          <a:xfrm rot="10800000">
            <a:off x="6" y="6498212"/>
            <a:ext cx="469843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35" name="Immagine 34" descr="PI_logo_o_RGB_p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32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37" name="Rettangolo 36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8" name="Rettangolo 37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14" name="Connettore diritto 13"/>
          <p:cNvCxnSpPr/>
          <p:nvPr/>
        </p:nvCxnSpPr>
        <p:spPr>
          <a:xfrm>
            <a:off x="8658417" y="330405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ttangolo 14"/>
          <p:cNvSpPr/>
          <p:nvPr/>
        </p:nvSpPr>
        <p:spPr>
          <a:xfrm>
            <a:off x="366736" y="3557228"/>
            <a:ext cx="7169663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706F6F"/>
              </a:solidFill>
            </a:endParaRPr>
          </a:p>
        </p:txBody>
      </p:sp>
      <p:cxnSp>
        <p:nvCxnSpPr>
          <p:cNvPr id="16" name="Connettore diritto 15"/>
          <p:cNvCxnSpPr/>
          <p:nvPr/>
        </p:nvCxnSpPr>
        <p:spPr>
          <a:xfrm>
            <a:off x="366736" y="3465226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ttore diritto 18"/>
          <p:cNvCxnSpPr/>
          <p:nvPr/>
        </p:nvCxnSpPr>
        <p:spPr>
          <a:xfrm>
            <a:off x="366736" y="5113051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ttore diritto 19"/>
          <p:cNvCxnSpPr/>
          <p:nvPr/>
        </p:nvCxnSpPr>
        <p:spPr>
          <a:xfrm>
            <a:off x="4" y="3304055"/>
            <a:ext cx="8586599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ttangolo 20"/>
          <p:cNvSpPr/>
          <p:nvPr/>
        </p:nvSpPr>
        <p:spPr>
          <a:xfrm>
            <a:off x="1967034" y="6498232"/>
            <a:ext cx="6619564" cy="3597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2" name="Rettangolo 21"/>
          <p:cNvSpPr/>
          <p:nvPr/>
        </p:nvSpPr>
        <p:spPr>
          <a:xfrm rot="10800000">
            <a:off x="6" y="6498212"/>
            <a:ext cx="469843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23" name="Immagine 22" descr="PI_logo_o_RGB_p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32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27" name="Rettangolo 26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8" name="Rettangolo 27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29" name="Connettore diritto 28"/>
          <p:cNvCxnSpPr/>
          <p:nvPr/>
        </p:nvCxnSpPr>
        <p:spPr>
          <a:xfrm>
            <a:off x="8658417" y="330405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Segnaposto testo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7035" y="6497638"/>
            <a:ext cx="6619754" cy="360362"/>
          </a:xfrm>
        </p:spPr>
        <p:txBody>
          <a:bodyPr anchor="ctr">
            <a:noAutofit/>
          </a:bodyPr>
          <a:lstStyle>
            <a:lvl1pPr marL="0" indent="0">
              <a:buNone/>
              <a:defRPr sz="675"/>
            </a:lvl1pPr>
            <a:lvl2pPr marL="342900" indent="0">
              <a:buNone/>
              <a:defRPr sz="600"/>
            </a:lvl2pPr>
            <a:lvl3pPr marL="685800" indent="0">
              <a:buNone/>
              <a:defRPr sz="525"/>
            </a:lvl3pPr>
            <a:lvl4pPr marL="1028700" indent="0">
              <a:buNone/>
              <a:defRPr sz="450"/>
            </a:lvl4pPr>
            <a:lvl5pPr marL="1371600" indent="0">
              <a:buNone/>
              <a:defRPr sz="450"/>
            </a:lvl5pPr>
          </a:lstStyle>
          <a:p>
            <a:pPr lvl="0"/>
            <a:r>
              <a:rPr lang="it-IT" dirty="0"/>
              <a:t>Struttura 1° livello - Struttura 2° livello - Struttura 3° livello </a:t>
            </a:r>
          </a:p>
        </p:txBody>
      </p:sp>
      <p:sp>
        <p:nvSpPr>
          <p:cNvPr id="31" name="Rectangle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2988234" y="83067"/>
            <a:ext cx="3167534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defRPr/>
            </a:pPr>
            <a:r>
              <a:rPr lang="it-IT" sz="900" b="1" dirty="0">
                <a:solidFill>
                  <a:srgbClr val="C41300"/>
                </a:solidFill>
              </a:rPr>
              <a:t>INFORMAZIONI RISERVATE EX ART.7 CCNL 14 APR 2011</a:t>
            </a:r>
          </a:p>
        </p:txBody>
      </p:sp>
    </p:spTree>
    <p:extLst>
      <p:ext uri="{BB962C8B-B14F-4D97-AF65-F5344CB8AC3E}">
        <p14:creationId xmlns:p14="http://schemas.microsoft.com/office/powerpoint/2010/main" val="1860985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GRAFICO +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egnaposto grafico 14"/>
          <p:cNvSpPr>
            <a:spLocks noGrp="1"/>
          </p:cNvSpPr>
          <p:nvPr>
            <p:ph type="chart" sz="quarter" idx="16"/>
          </p:nvPr>
        </p:nvSpPr>
        <p:spPr>
          <a:xfrm>
            <a:off x="278606" y="1016003"/>
            <a:ext cx="5929313" cy="5097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it-IT"/>
              <a:t>Fare clic sull'icona per inserire un grafico</a:t>
            </a:r>
            <a:endParaRPr lang="it-IT" dirty="0"/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4, </a:t>
            </a:r>
            <a:r>
              <a:rPr lang="it-IT" dirty="0" err="1"/>
              <a:t>bold</a:t>
            </a:r>
            <a:r>
              <a:rPr lang="it-IT" dirty="0"/>
              <a:t>, maiuscolo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8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35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7"/>
          </p:nvPr>
        </p:nvSpPr>
        <p:spPr>
          <a:xfrm>
            <a:off x="8658416" y="6498211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6350794" y="1609725"/>
            <a:ext cx="2491754" cy="3905250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4207013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magine Pagina Inte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3000" baseline="0"/>
            </a:lvl1pPr>
          </a:lstStyle>
          <a:p>
            <a:r>
              <a:rPr lang="it-IT" dirty="0"/>
              <a:t>IMMAGINE A PAGINA INTERA</a:t>
            </a:r>
          </a:p>
          <a:p>
            <a:r>
              <a:rPr lang="it-IT" dirty="0"/>
              <a:t>Cliccare per inserire</a:t>
            </a:r>
          </a:p>
        </p:txBody>
      </p:sp>
      <p:sp>
        <p:nvSpPr>
          <p:cNvPr id="3" name="Rectangle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2988234" y="83067"/>
            <a:ext cx="3167534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defRPr/>
            </a:pPr>
            <a:r>
              <a:rPr lang="it-IT" sz="900" b="1" dirty="0">
                <a:solidFill>
                  <a:srgbClr val="C41300"/>
                </a:solidFill>
              </a:rPr>
              <a:t>INFORMAZIONI RISERVATE EX ART.7 CCNL 14 APR 2011</a:t>
            </a:r>
          </a:p>
        </p:txBody>
      </p:sp>
    </p:spTree>
    <p:extLst>
      <p:ext uri="{BB962C8B-B14F-4D97-AF65-F5344CB8AC3E}">
        <p14:creationId xmlns:p14="http://schemas.microsoft.com/office/powerpoint/2010/main" val="3615115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STD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2236163"/>
              </p:ext>
            </p:extLst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19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278608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4, </a:t>
            </a:r>
            <a:r>
              <a:rPr lang="it-IT" dirty="0" err="1"/>
              <a:t>bold</a:t>
            </a:r>
            <a:r>
              <a:rPr lang="it-IT" dirty="0"/>
              <a:t>, maiuscolo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4"/>
          </p:nvPr>
        </p:nvSpPr>
        <p:spPr>
          <a:xfrm>
            <a:off x="278608" y="1016005"/>
            <a:ext cx="8586788" cy="5097463"/>
          </a:xfrm>
          <a:prstGeom prst="rect">
            <a:avLst/>
          </a:prstGeom>
          <a:ln w="25400" cap="rnd">
            <a:noFill/>
          </a:ln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707173"/>
              </a:buClr>
              <a:defRPr lang="it-IT" sz="1500" dirty="0" smtClean="0"/>
            </a:lvl1pPr>
            <a:lvl2pPr>
              <a:buClr>
                <a:srgbClr val="707173"/>
              </a:buClr>
              <a:defRPr lang="it-IT" sz="1350" dirty="0" smtClean="0"/>
            </a:lvl2pPr>
            <a:lvl3pPr marL="807244" indent="-121444">
              <a:buClr>
                <a:srgbClr val="707173"/>
              </a:buClr>
              <a:defRPr lang="it-IT" sz="1200" dirty="0" smtClean="0"/>
            </a:lvl3pPr>
            <a:lvl4pPr marL="1143000" indent="-114300">
              <a:buClr>
                <a:srgbClr val="707173"/>
              </a:buClr>
              <a:defRPr lang="it-IT" sz="1050" dirty="0" smtClean="0"/>
            </a:lvl4pPr>
            <a:lvl5pPr marL="1478756" indent="-107156">
              <a:buClr>
                <a:srgbClr val="707173"/>
              </a:buClr>
              <a:defRPr lang="it-IT" sz="1050" dirty="0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25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580060" y="289324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35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8659606" y="6500836"/>
            <a:ext cx="484394" cy="357187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699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STD Testo 2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23"/>
          </p:nvPr>
        </p:nvSpPr>
        <p:spPr>
          <a:xfrm>
            <a:off x="8658418" y="6498231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4" name="Titolo 1"/>
          <p:cNvSpPr>
            <a:spLocks noGrp="1"/>
          </p:cNvSpPr>
          <p:nvPr>
            <p:ph type="title" hasCustomPrompt="1"/>
          </p:nvPr>
        </p:nvSpPr>
        <p:spPr>
          <a:xfrm>
            <a:off x="278608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4, </a:t>
            </a:r>
            <a:r>
              <a:rPr lang="it-IT" dirty="0" err="1"/>
              <a:t>bold</a:t>
            </a:r>
            <a:r>
              <a:rPr lang="it-IT" dirty="0"/>
              <a:t>, maiuscolo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5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8" y="360576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35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24"/>
          </p:nvPr>
        </p:nvSpPr>
        <p:spPr>
          <a:xfrm>
            <a:off x="278606" y="1016005"/>
            <a:ext cx="4221956" cy="5097463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25"/>
          </p:nvPr>
        </p:nvSpPr>
        <p:spPr>
          <a:xfrm>
            <a:off x="4643438" y="1016005"/>
            <a:ext cx="4221956" cy="5097463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Rectangle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2988234" y="83067"/>
            <a:ext cx="3167534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defRPr/>
            </a:pPr>
            <a:r>
              <a:rPr lang="it-IT" sz="900" b="1" dirty="0">
                <a:solidFill>
                  <a:srgbClr val="C41300"/>
                </a:solidFill>
              </a:rPr>
              <a:t>INFORMAZIONI RISERVATE EX ART.7 CCNL 14 APR 2011</a:t>
            </a:r>
          </a:p>
        </p:txBody>
      </p:sp>
    </p:spTree>
    <p:extLst>
      <p:ext uri="{BB962C8B-B14F-4D97-AF65-F5344CB8AC3E}">
        <p14:creationId xmlns:p14="http://schemas.microsoft.com/office/powerpoint/2010/main" val="2642211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esto + Imm. d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egnaposto immagine 26"/>
          <p:cNvSpPr>
            <a:spLocks noGrp="1"/>
          </p:cNvSpPr>
          <p:nvPr>
            <p:ph type="pic" sz="quarter" idx="16"/>
          </p:nvPr>
        </p:nvSpPr>
        <p:spPr>
          <a:xfrm>
            <a:off x="4643442" y="1016005"/>
            <a:ext cx="4195763" cy="509746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vert="horz" lIns="0" tIns="45720" rIns="0" bIns="45720" rtlCol="0" anchor="t">
            <a:normAutofit/>
          </a:bodyPr>
          <a:lstStyle>
            <a:lvl1pPr marL="0" indent="0" algn="l">
              <a:buNone/>
              <a:defRPr lang="it-IT"/>
            </a:lvl1pPr>
          </a:lstStyle>
          <a:p>
            <a:pPr lvl="0"/>
            <a:r>
              <a:rPr lang="it-IT"/>
              <a:t>Fare clic sull'icona per inserire un'immagine</a:t>
            </a:r>
            <a:endParaRPr lang="it-IT" dirty="0"/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7"/>
          </p:nvPr>
        </p:nvSpPr>
        <p:spPr>
          <a:xfrm>
            <a:off x="8658418" y="6498231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20" name="Titolo 1"/>
          <p:cNvSpPr>
            <a:spLocks noGrp="1"/>
          </p:cNvSpPr>
          <p:nvPr>
            <p:ph type="title" hasCustomPrompt="1"/>
          </p:nvPr>
        </p:nvSpPr>
        <p:spPr>
          <a:xfrm>
            <a:off x="278608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4, </a:t>
            </a:r>
            <a:r>
              <a:rPr lang="it-IT" dirty="0" err="1"/>
              <a:t>bold</a:t>
            </a:r>
            <a:r>
              <a:rPr lang="it-IT" dirty="0"/>
              <a:t>, maiuscolo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21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8" y="360576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35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278606" y="2066925"/>
            <a:ext cx="4221956" cy="30384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7" name="Rectangle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2988234" y="83067"/>
            <a:ext cx="3167534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defRPr/>
            </a:pPr>
            <a:r>
              <a:rPr lang="it-IT" sz="900" b="1" dirty="0">
                <a:solidFill>
                  <a:srgbClr val="C41300"/>
                </a:solidFill>
              </a:rPr>
              <a:t>INFORMAZIONI RISERVATE EX ART.7 CCNL 14 APR 2011</a:t>
            </a:r>
          </a:p>
        </p:txBody>
      </p:sp>
    </p:spTree>
    <p:extLst>
      <p:ext uri="{BB962C8B-B14F-4D97-AF65-F5344CB8AC3E}">
        <p14:creationId xmlns:p14="http://schemas.microsoft.com/office/powerpoint/2010/main" val="2190274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esto + Imm. s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egnaposto immagine 14"/>
          <p:cNvSpPr>
            <a:spLocks noGrp="1"/>
          </p:cNvSpPr>
          <p:nvPr>
            <p:ph type="pic" sz="quarter" idx="16"/>
          </p:nvPr>
        </p:nvSpPr>
        <p:spPr>
          <a:xfrm>
            <a:off x="278606" y="1016005"/>
            <a:ext cx="4221956" cy="509746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anchor="t"/>
          <a:lstStyle>
            <a:lvl1pPr marL="0" indent="0" algn="l">
              <a:buNone/>
              <a:defRPr/>
            </a:lvl1pPr>
          </a:lstStyle>
          <a:p>
            <a:r>
              <a:rPr lang="it-IT"/>
              <a:t>Fare clic sull'icona per inserire un'immagine</a:t>
            </a:r>
            <a:endParaRPr lang="it-IT" dirty="0"/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7"/>
          </p:nvPr>
        </p:nvSpPr>
        <p:spPr>
          <a:xfrm>
            <a:off x="8658418" y="6498231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4" name="Titolo 1"/>
          <p:cNvSpPr>
            <a:spLocks noGrp="1"/>
          </p:cNvSpPr>
          <p:nvPr>
            <p:ph type="title" hasCustomPrompt="1"/>
          </p:nvPr>
        </p:nvSpPr>
        <p:spPr>
          <a:xfrm>
            <a:off x="278608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4, </a:t>
            </a:r>
            <a:r>
              <a:rPr lang="it-IT" dirty="0" err="1"/>
              <a:t>bold</a:t>
            </a:r>
            <a:r>
              <a:rPr lang="it-IT" dirty="0"/>
              <a:t>, maiuscolo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6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8" y="360576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35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4643438" y="2076449"/>
            <a:ext cx="4221956" cy="2905125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357471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GRAFICO +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egnaposto grafico 14"/>
          <p:cNvSpPr>
            <a:spLocks noGrp="1"/>
          </p:cNvSpPr>
          <p:nvPr>
            <p:ph type="chart" sz="quarter" idx="16"/>
          </p:nvPr>
        </p:nvSpPr>
        <p:spPr>
          <a:xfrm>
            <a:off x="278611" y="1016005"/>
            <a:ext cx="5929313" cy="5097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it-IT"/>
              <a:t>Fare clic sull'icona per inserire un grafico</a:t>
            </a:r>
            <a:endParaRPr lang="it-IT" dirty="0"/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278608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4, </a:t>
            </a:r>
            <a:r>
              <a:rPr lang="it-IT" dirty="0" err="1"/>
              <a:t>bold</a:t>
            </a:r>
            <a:r>
              <a:rPr lang="it-IT" dirty="0"/>
              <a:t>, maiuscolo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8" y="360576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35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7"/>
          </p:nvPr>
        </p:nvSpPr>
        <p:spPr>
          <a:xfrm>
            <a:off x="8658418" y="6498231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6350794" y="1609725"/>
            <a:ext cx="2491754" cy="3905250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Rectangle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2988234" y="83067"/>
            <a:ext cx="3167534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defRPr/>
            </a:pPr>
            <a:r>
              <a:rPr lang="it-IT" sz="900" b="1" dirty="0">
                <a:solidFill>
                  <a:srgbClr val="C41300"/>
                </a:solidFill>
              </a:rPr>
              <a:t>INFORMAZIONI RISERVATE EX ART.7 CCNL 14 APR 2011</a:t>
            </a:r>
          </a:p>
        </p:txBody>
      </p:sp>
    </p:spTree>
    <p:extLst>
      <p:ext uri="{BB962C8B-B14F-4D97-AF65-F5344CB8AC3E}">
        <p14:creationId xmlns:p14="http://schemas.microsoft.com/office/powerpoint/2010/main" val="454367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ABELLA +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abella 3"/>
          <p:cNvSpPr>
            <a:spLocks noGrp="1"/>
          </p:cNvSpPr>
          <p:nvPr>
            <p:ph type="tbl" sz="quarter" idx="20"/>
          </p:nvPr>
        </p:nvSpPr>
        <p:spPr>
          <a:xfrm>
            <a:off x="278611" y="1016005"/>
            <a:ext cx="5929313" cy="5097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it-IT"/>
              <a:t>Fare clic sull'icona per inserire una tabella</a:t>
            </a:r>
            <a:endParaRPr lang="it-IT" dirty="0"/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278608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4, </a:t>
            </a:r>
            <a:r>
              <a:rPr lang="it-IT" dirty="0" err="1"/>
              <a:t>bold</a:t>
            </a:r>
            <a:r>
              <a:rPr lang="it-IT" dirty="0"/>
              <a:t>, maiuscolo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8" y="360576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35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21"/>
          </p:nvPr>
        </p:nvSpPr>
        <p:spPr>
          <a:xfrm>
            <a:off x="8658418" y="6498231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22"/>
          </p:nvPr>
        </p:nvSpPr>
        <p:spPr>
          <a:xfrm>
            <a:off x="6350795" y="1609725"/>
            <a:ext cx="2514600" cy="3924300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Rectangle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2988234" y="83067"/>
            <a:ext cx="3167534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defRPr/>
            </a:pPr>
            <a:r>
              <a:rPr lang="it-IT" sz="900" b="1" dirty="0">
                <a:solidFill>
                  <a:srgbClr val="C41300"/>
                </a:solidFill>
              </a:rPr>
              <a:t>INFORMAZIONI RISERVATE EX ART.7 CCNL 14 APR 2011</a:t>
            </a:r>
          </a:p>
        </p:txBody>
      </p:sp>
    </p:spTree>
    <p:extLst>
      <p:ext uri="{BB962C8B-B14F-4D97-AF65-F5344CB8AC3E}">
        <p14:creationId xmlns:p14="http://schemas.microsoft.com/office/powerpoint/2010/main" val="1561648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8658418" y="6498231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0" name="Titolo 1"/>
          <p:cNvSpPr>
            <a:spLocks noGrp="1"/>
          </p:cNvSpPr>
          <p:nvPr>
            <p:ph type="title" hasCustomPrompt="1"/>
          </p:nvPr>
        </p:nvSpPr>
        <p:spPr>
          <a:xfrm>
            <a:off x="278608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4, </a:t>
            </a:r>
            <a:r>
              <a:rPr lang="it-IT" dirty="0" err="1"/>
              <a:t>bold</a:t>
            </a:r>
            <a:r>
              <a:rPr lang="it-IT" dirty="0"/>
              <a:t>, maiuscolo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1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8" y="360576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35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5" name="Rectangle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2988234" y="83067"/>
            <a:ext cx="3167534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defRPr/>
            </a:pPr>
            <a:r>
              <a:rPr lang="it-IT" sz="900" b="1" dirty="0">
                <a:solidFill>
                  <a:srgbClr val="C41300"/>
                </a:solidFill>
              </a:rPr>
              <a:t>INFORMAZIONI RISERVATE EX ART.7 CCNL 14 APR 2011</a:t>
            </a:r>
          </a:p>
        </p:txBody>
      </p:sp>
    </p:spTree>
    <p:extLst>
      <p:ext uri="{BB962C8B-B14F-4D97-AF65-F5344CB8AC3E}">
        <p14:creationId xmlns:p14="http://schemas.microsoft.com/office/powerpoint/2010/main" val="208733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/>
        </p:nvSpPr>
        <p:spPr>
          <a:xfrm>
            <a:off x="1" y="628650"/>
            <a:ext cx="9144000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>
          <a:xfrm>
            <a:off x="8658418" y="6498231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Rettangolo 3"/>
          <p:cNvSpPr/>
          <p:nvPr/>
        </p:nvSpPr>
        <p:spPr>
          <a:xfrm>
            <a:off x="1" y="628650"/>
            <a:ext cx="9144000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5" name="Rettangolo 4"/>
          <p:cNvSpPr/>
          <p:nvPr userDrawn="1"/>
        </p:nvSpPr>
        <p:spPr>
          <a:xfrm>
            <a:off x="1" y="628650"/>
            <a:ext cx="9144000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" name="Rectangle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2988234" y="83067"/>
            <a:ext cx="3167534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defRPr/>
            </a:pPr>
            <a:r>
              <a:rPr lang="it-IT" sz="900" b="1" dirty="0">
                <a:solidFill>
                  <a:srgbClr val="C41300"/>
                </a:solidFill>
              </a:rPr>
              <a:t>INFORMAZIONI RISERVATE EX ART.7 CCNL 14 APR 2011</a:t>
            </a:r>
          </a:p>
        </p:txBody>
      </p:sp>
    </p:spTree>
    <p:extLst>
      <p:ext uri="{BB962C8B-B14F-4D97-AF65-F5344CB8AC3E}">
        <p14:creationId xmlns:p14="http://schemas.microsoft.com/office/powerpoint/2010/main" val="3137392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I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/>
        </p:nvSpPr>
        <p:spPr>
          <a:xfrm>
            <a:off x="1" y="628650"/>
            <a:ext cx="7250906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>
          <a:xfrm>
            <a:off x="8658418" y="6498231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Rettangolo 3"/>
          <p:cNvSpPr/>
          <p:nvPr/>
        </p:nvSpPr>
        <p:spPr>
          <a:xfrm>
            <a:off x="7" y="0"/>
            <a:ext cx="9143999" cy="6858000"/>
          </a:xfrm>
          <a:prstGeom prst="rect">
            <a:avLst/>
          </a:prstGeom>
          <a:solidFill>
            <a:srgbClr val="EEDC1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5" name="Immagine 4" descr="pi_rgb_nobkgd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7057" y="2854739"/>
            <a:ext cx="3009899" cy="810177"/>
          </a:xfrm>
          <a:prstGeom prst="rect">
            <a:avLst/>
          </a:prstGeom>
        </p:spPr>
      </p:pic>
      <p:pic>
        <p:nvPicPr>
          <p:cNvPr id="6" name="Immagine 5" descr="social_poste.eps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093" y="3858047"/>
            <a:ext cx="1557827" cy="238646"/>
          </a:xfrm>
          <a:prstGeom prst="rect">
            <a:avLst/>
          </a:prstGeom>
        </p:spPr>
      </p:pic>
      <p:sp>
        <p:nvSpPr>
          <p:cNvPr id="8" name="Segnaposto testo 7"/>
          <p:cNvSpPr>
            <a:spLocks noGrp="1"/>
          </p:cNvSpPr>
          <p:nvPr>
            <p:ph type="body" sz="quarter" idx="11" hasCustomPrompt="1"/>
          </p:nvPr>
        </p:nvSpPr>
        <p:spPr>
          <a:xfrm>
            <a:off x="1762131" y="5588023"/>
            <a:ext cx="5619751" cy="525463"/>
          </a:xfr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100" baseline="0"/>
            </a:lvl1pPr>
          </a:lstStyle>
          <a:p>
            <a:pPr lvl="0"/>
            <a:r>
              <a:rPr lang="it-IT" dirty="0"/>
              <a:t>Rispetta l’ambiente: NON MI STAMPARE </a:t>
            </a:r>
          </a:p>
        </p:txBody>
      </p:sp>
      <p:sp>
        <p:nvSpPr>
          <p:cNvPr id="9" name="Rettangolo 8"/>
          <p:cNvSpPr/>
          <p:nvPr/>
        </p:nvSpPr>
        <p:spPr>
          <a:xfrm>
            <a:off x="1" y="628650"/>
            <a:ext cx="7250906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7" y="0"/>
            <a:ext cx="9143999" cy="6858000"/>
          </a:xfrm>
          <a:prstGeom prst="rect">
            <a:avLst/>
          </a:prstGeom>
          <a:solidFill>
            <a:srgbClr val="EEDC1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11" name="Immagine 10" descr="pi_rgb_nobkgd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7057" y="2854739"/>
            <a:ext cx="3009899" cy="810177"/>
          </a:xfrm>
          <a:prstGeom prst="rect">
            <a:avLst/>
          </a:prstGeom>
        </p:spPr>
      </p:pic>
      <p:pic>
        <p:nvPicPr>
          <p:cNvPr id="12" name="Immagine 11" descr="social_poste.eps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093" y="3858047"/>
            <a:ext cx="1557827" cy="238646"/>
          </a:xfrm>
          <a:prstGeom prst="rect">
            <a:avLst/>
          </a:prstGeom>
        </p:spPr>
      </p:pic>
      <p:sp>
        <p:nvSpPr>
          <p:cNvPr id="13" name="Rettangolo 12"/>
          <p:cNvSpPr/>
          <p:nvPr userDrawn="1"/>
        </p:nvSpPr>
        <p:spPr>
          <a:xfrm>
            <a:off x="1" y="628650"/>
            <a:ext cx="7250906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4" name="Rettangolo 13"/>
          <p:cNvSpPr/>
          <p:nvPr userDrawn="1"/>
        </p:nvSpPr>
        <p:spPr>
          <a:xfrm>
            <a:off x="7" y="0"/>
            <a:ext cx="9143999" cy="6858000"/>
          </a:xfrm>
          <a:prstGeom prst="rect">
            <a:avLst/>
          </a:prstGeom>
          <a:solidFill>
            <a:srgbClr val="EEDC1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15" name="Immagine 14" descr="pi_rgb_nobkgd.eps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7057" y="2854739"/>
            <a:ext cx="3009899" cy="810177"/>
          </a:xfrm>
          <a:prstGeom prst="rect">
            <a:avLst/>
          </a:prstGeom>
        </p:spPr>
      </p:pic>
      <p:pic>
        <p:nvPicPr>
          <p:cNvPr id="16" name="Immagine 15" descr="social_poste.eps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093" y="3858047"/>
            <a:ext cx="1557827" cy="238646"/>
          </a:xfrm>
          <a:prstGeom prst="rect">
            <a:avLst/>
          </a:prstGeom>
        </p:spPr>
      </p:pic>
      <p:sp>
        <p:nvSpPr>
          <p:cNvPr id="17" name="Rectangle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2988234" y="83067"/>
            <a:ext cx="3167534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defRPr/>
            </a:pPr>
            <a:r>
              <a:rPr lang="it-IT" sz="900" b="1" dirty="0">
                <a:solidFill>
                  <a:srgbClr val="C41300"/>
                </a:solidFill>
              </a:rPr>
              <a:t>INFORMAZIONI RISERVATE EX ART.7 CCNL 14 APR 2011</a:t>
            </a:r>
          </a:p>
        </p:txBody>
      </p:sp>
    </p:spTree>
    <p:extLst>
      <p:ext uri="{BB962C8B-B14F-4D97-AF65-F5344CB8AC3E}">
        <p14:creationId xmlns:p14="http://schemas.microsoft.com/office/powerpoint/2010/main" val="2489797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ABELLA +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abella 3"/>
          <p:cNvSpPr>
            <a:spLocks noGrp="1"/>
          </p:cNvSpPr>
          <p:nvPr>
            <p:ph type="tbl" sz="quarter" idx="20"/>
          </p:nvPr>
        </p:nvSpPr>
        <p:spPr>
          <a:xfrm>
            <a:off x="278606" y="1016003"/>
            <a:ext cx="5929313" cy="5097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it-IT"/>
              <a:t>Fare clic sull'icona per inserire una tabella</a:t>
            </a:r>
            <a:endParaRPr lang="it-IT" dirty="0"/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4, </a:t>
            </a:r>
            <a:r>
              <a:rPr lang="it-IT" dirty="0" err="1"/>
              <a:t>bold</a:t>
            </a:r>
            <a:r>
              <a:rPr lang="it-IT" dirty="0"/>
              <a:t>, maiuscolo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8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35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21"/>
          </p:nvPr>
        </p:nvSpPr>
        <p:spPr>
          <a:xfrm>
            <a:off x="8658416" y="6498211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22"/>
          </p:nvPr>
        </p:nvSpPr>
        <p:spPr>
          <a:xfrm>
            <a:off x="6350795" y="1609725"/>
            <a:ext cx="2514600" cy="3924300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282694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57" y="163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88" name="Diapositiva think-cell" r:id="rId7" imgW="360" imgH="360" progId="TCLayout.ActiveDocument.1">
                  <p:embed/>
                </p:oleObj>
              </mc:Choice>
              <mc:Fallback>
                <p:oleObj name="Diapositiva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7" y="1632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6"/>
          <p:cNvSpPr>
            <a:spLocks noChangeAspect="1"/>
          </p:cNvSpPr>
          <p:nvPr/>
        </p:nvSpPr>
        <p:spPr bwMode="auto">
          <a:xfrm>
            <a:off x="6594236" y="6345238"/>
            <a:ext cx="2549769" cy="512762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1"/>
          <a:lstStyle/>
          <a:p>
            <a:pPr algn="ctr">
              <a:spcBef>
                <a:spcPct val="50000"/>
              </a:spcBef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484078" y="6675438"/>
            <a:ext cx="175846" cy="131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algn="ctr" defTabSz="666750">
              <a:defRPr/>
            </a:pPr>
            <a:fld id="{051C364A-8ED2-4945-B171-6C041B65E8EF}" type="slidenum">
              <a:rPr lang="it-IT" sz="900" b="1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  <a:latin typeface="Calibri"/>
                <a:cs typeface="Arial"/>
              </a:rPr>
              <a:pPr algn="ctr" defTabSz="666750">
                <a:defRPr/>
              </a:pPr>
              <a:t>‹N›</a:t>
            </a:fld>
            <a:endParaRPr lang="it-IT" sz="900" b="1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  <a:latin typeface="Calibri"/>
              <a:cs typeface="Arial"/>
            </a:endParaRPr>
          </a:p>
        </p:txBody>
      </p:sp>
      <p:grpSp>
        <p:nvGrpSpPr>
          <p:cNvPr id="10" name="Group 45"/>
          <p:cNvGrpSpPr>
            <a:grpSpLocks/>
          </p:cNvGrpSpPr>
          <p:nvPr/>
        </p:nvGrpSpPr>
        <p:grpSpPr bwMode="auto">
          <a:xfrm>
            <a:off x="7036913" y="6505848"/>
            <a:ext cx="1833197" cy="227013"/>
            <a:chOff x="4653757" y="2387600"/>
            <a:chExt cx="5606520" cy="639763"/>
          </a:xfrm>
        </p:grpSpPr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6809422" y="2571030"/>
              <a:ext cx="524349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algn="ctr">
                <a:spcBef>
                  <a:spcPct val="50000"/>
                </a:spcBef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3985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algn="ctr">
                <a:spcBef>
                  <a:spcPct val="50000"/>
                </a:spcBef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 userDrawn="1"/>
          </p:nvSpPr>
          <p:spPr bwMode="auto">
            <a:xfrm>
              <a:off x="5276705" y="2571030"/>
              <a:ext cx="564685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algn="ctr">
                <a:spcBef>
                  <a:spcPct val="50000"/>
                </a:spcBef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5877243" y="2571030"/>
              <a:ext cx="470570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algn="ctr">
                <a:spcBef>
                  <a:spcPct val="50000"/>
                </a:spcBef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6374703" y="2454709"/>
              <a:ext cx="385420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algn="ctr">
                <a:spcBef>
                  <a:spcPct val="50000"/>
                </a:spcBef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7405478" y="2387600"/>
              <a:ext cx="112042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algn="ctr">
                <a:spcBef>
                  <a:spcPct val="50000"/>
                </a:spcBef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7405478" y="2387600"/>
              <a:ext cx="112042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algn="ctr">
                <a:spcBef>
                  <a:spcPct val="50000"/>
                </a:spcBef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auto">
            <a:xfrm>
              <a:off x="7571299" y="2459182"/>
              <a:ext cx="291305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algn="ctr">
                <a:spcBef>
                  <a:spcPct val="50000"/>
                </a:spcBef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 userDrawn="1"/>
          </p:nvSpPr>
          <p:spPr bwMode="auto">
            <a:xfrm>
              <a:off x="7902940" y="2562082"/>
              <a:ext cx="421273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algn="ctr">
                <a:spcBef>
                  <a:spcPct val="50000"/>
                </a:spcBef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0" name="Rectangle 15"/>
            <p:cNvSpPr>
              <a:spLocks noChangeArrowheads="1"/>
            </p:cNvSpPr>
            <p:nvPr userDrawn="1"/>
          </p:nvSpPr>
          <p:spPr bwMode="auto">
            <a:xfrm>
              <a:off x="8413846" y="2387600"/>
              <a:ext cx="89633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algn="ctr">
                <a:spcBef>
                  <a:spcPct val="50000"/>
                </a:spcBef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1" name="Freeform 16"/>
            <p:cNvSpPr>
              <a:spLocks noEditPoints="1"/>
            </p:cNvSpPr>
            <p:nvPr userDrawn="1"/>
          </p:nvSpPr>
          <p:spPr bwMode="auto">
            <a:xfrm>
              <a:off x="8615518" y="2387600"/>
              <a:ext cx="107559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algn="ctr">
                <a:spcBef>
                  <a:spcPct val="50000"/>
                </a:spcBef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2" name="Freeform 17"/>
            <p:cNvSpPr>
              <a:spLocks noEditPoints="1"/>
            </p:cNvSpPr>
            <p:nvPr userDrawn="1"/>
          </p:nvSpPr>
          <p:spPr bwMode="auto">
            <a:xfrm>
              <a:off x="8615518" y="2387600"/>
              <a:ext cx="107559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algn="ctr">
                <a:spcBef>
                  <a:spcPct val="50000"/>
                </a:spcBef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3" name="Freeform 18"/>
            <p:cNvSpPr>
              <a:spLocks noEditPoints="1"/>
            </p:cNvSpPr>
            <p:nvPr userDrawn="1"/>
          </p:nvSpPr>
          <p:spPr bwMode="auto">
            <a:xfrm>
              <a:off x="8803746" y="2562082"/>
              <a:ext cx="412310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algn="ctr">
                <a:spcBef>
                  <a:spcPct val="50000"/>
                </a:spcBef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4" name="Freeform 19"/>
            <p:cNvSpPr>
              <a:spLocks/>
            </p:cNvSpPr>
            <p:nvPr userDrawn="1"/>
          </p:nvSpPr>
          <p:spPr bwMode="auto">
            <a:xfrm>
              <a:off x="9314652" y="2562082"/>
              <a:ext cx="425756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algn="ctr">
                <a:spcBef>
                  <a:spcPct val="50000"/>
                </a:spcBef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25" name="Freeform 20"/>
            <p:cNvSpPr>
              <a:spLocks noEditPoints="1"/>
            </p:cNvSpPr>
            <p:nvPr userDrawn="1"/>
          </p:nvSpPr>
          <p:spPr bwMode="auto">
            <a:xfrm>
              <a:off x="9807631" y="2562082"/>
              <a:ext cx="452646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algn="ctr">
                <a:spcBef>
                  <a:spcPct val="50000"/>
                </a:spcBef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26" name="Group 61"/>
          <p:cNvGrpSpPr>
            <a:grpSpLocks/>
          </p:cNvGrpSpPr>
          <p:nvPr/>
        </p:nvGrpSpPr>
        <p:grpSpPr bwMode="auto">
          <a:xfrm>
            <a:off x="0" y="608639"/>
            <a:ext cx="9144000" cy="41275"/>
            <a:chOff x="0" y="1187350"/>
            <a:chExt cx="9144000" cy="40942"/>
          </a:xfrm>
        </p:grpSpPr>
        <p:cxnSp>
          <p:nvCxnSpPr>
            <p:cNvPr id="27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9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57" y="163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89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7" y="1632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137" y="-250567"/>
            <a:ext cx="8273562" cy="8318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it-IT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046" y="1509714"/>
            <a:ext cx="8274051" cy="46132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30" name="Rectangle 2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 rot="19719294">
            <a:off x="1266093" y="3244770"/>
            <a:ext cx="6724776" cy="83099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defRPr/>
            </a:pPr>
            <a:r>
              <a:rPr lang="it-IT" sz="5400" b="1" dirty="0">
                <a:solidFill>
                  <a:srgbClr val="FFFFFF">
                    <a:lumMod val="95000"/>
                  </a:srgbClr>
                </a:solidFill>
                <a:latin typeface="Calibri"/>
                <a:cs typeface="Arial"/>
              </a:rPr>
              <a:t>RISERVATO</a:t>
            </a:r>
          </a:p>
        </p:txBody>
      </p:sp>
      <p:sp>
        <p:nvSpPr>
          <p:cNvPr id="31" name="Rectangle 2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3401495" y="73026"/>
            <a:ext cx="2338782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defRPr/>
            </a:pPr>
            <a:r>
              <a:rPr lang="it-IT" sz="900" b="1" dirty="0">
                <a:solidFill>
                  <a:srgbClr val="C41300"/>
                </a:solidFill>
                <a:latin typeface="Calibri"/>
                <a:cs typeface="Arial"/>
              </a:rPr>
              <a:t>FOR DISCUSSION ONLY-RIPRODUZIONE VIETATA </a:t>
            </a:r>
          </a:p>
        </p:txBody>
      </p:sp>
    </p:spTree>
    <p:extLst>
      <p:ext uri="{BB962C8B-B14F-4D97-AF65-F5344CB8AC3E}">
        <p14:creationId xmlns:p14="http://schemas.microsoft.com/office/powerpoint/2010/main" val="325739334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2104106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67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olo 3"/>
          <p:cNvSpPr>
            <a:spLocks noGrp="1"/>
          </p:cNvSpPr>
          <p:nvPr>
            <p:ph type="title"/>
          </p:nvPr>
        </p:nvSpPr>
        <p:spPr>
          <a:xfrm>
            <a:off x="124905" y="-307132"/>
            <a:ext cx="8273562" cy="831850"/>
          </a:xfrm>
          <a:prstGeom prst="rect">
            <a:avLst/>
          </a:prstGeom>
        </p:spPr>
        <p:txBody>
          <a:bodyPr/>
          <a:lstStyle/>
          <a:p>
            <a:r>
              <a:rPr lang="it-IT" dirty="0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384665061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131841F3-8578-4F85-BEA7-7841AD4689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7685020"/>
              </p:ext>
            </p:extLst>
          </p:nvPr>
        </p:nvGraphicFramePr>
        <p:xfrm>
          <a:off x="1621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30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85074" y="509835"/>
            <a:ext cx="9034762" cy="314028"/>
          </a:xfrm>
          <a:prstGeom prst="rect">
            <a:avLst/>
          </a:prstGeom>
        </p:spPr>
        <p:txBody>
          <a:bodyPr lIns="111063" tIns="55532" rIns="111063" bIns="55532" anchor="b" anchorCtr="0"/>
          <a:lstStyle/>
          <a:p>
            <a:r>
              <a:rPr lang="en-US" dirty="0"/>
              <a:t>Click to edit Master title style</a:t>
            </a:r>
            <a:endParaRPr lang="it-IT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8850254" y="6645565"/>
            <a:ext cx="133050" cy="11541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it-IT"/>
            </a:defPPr>
            <a:lvl1pPr>
              <a:defRPr sz="1000" baseline="0"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it-IT" sz="750" smtClean="0">
                <a:solidFill>
                  <a:srgbClr val="FFFFFF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›</a:t>
            </a:fld>
            <a:endParaRPr lang="it-IT" sz="750" dirty="0">
              <a:solidFill>
                <a:srgbClr val="FFFFFF"/>
              </a:solidFill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693775" y="6645565"/>
            <a:ext cx="942567" cy="115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15619" fontAlgn="auto">
              <a:spcBef>
                <a:spcPts val="0"/>
              </a:spcBef>
              <a:spcAft>
                <a:spcPts val="0"/>
              </a:spcAft>
            </a:pPr>
            <a:r>
              <a:rPr lang="it-IT" sz="750" dirty="0">
                <a:solidFill>
                  <a:srgbClr val="808080"/>
                </a:solidFill>
                <a:latin typeface="Arial"/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286687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129" userDrawn="1">
          <p15:clr>
            <a:srgbClr val="F26B43"/>
          </p15:clr>
        </p15:guide>
        <p15:guide id="2" pos="56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image" Target="../media/image6.emf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oleObject" Target="../embeddings/oleObject3.bin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tags" Target="../tags/tag4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43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vmlDrawing" Target="../drawings/vmlDrawing3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26" Type="http://schemas.openxmlformats.org/officeDocument/2006/relationships/slideLayout" Target="../slideLayouts/slideLayout71.xml"/><Relationship Id="rId3" Type="http://schemas.openxmlformats.org/officeDocument/2006/relationships/slideLayout" Target="../slideLayouts/slideLayout48.xml"/><Relationship Id="rId21" Type="http://schemas.openxmlformats.org/officeDocument/2006/relationships/slideLayout" Target="../slideLayouts/slideLayout66.xml"/><Relationship Id="rId34" Type="http://schemas.openxmlformats.org/officeDocument/2006/relationships/vmlDrawing" Target="../drawings/vmlDrawing31.v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5" Type="http://schemas.openxmlformats.org/officeDocument/2006/relationships/slideLayout" Target="../slideLayouts/slideLayout70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65.xml"/><Relationship Id="rId29" Type="http://schemas.openxmlformats.org/officeDocument/2006/relationships/slideLayout" Target="../slideLayouts/slideLayout74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24" Type="http://schemas.openxmlformats.org/officeDocument/2006/relationships/slideLayout" Target="../slideLayouts/slideLayout69.xml"/><Relationship Id="rId32" Type="http://schemas.openxmlformats.org/officeDocument/2006/relationships/slideLayout" Target="../slideLayouts/slideLayout77.xml"/><Relationship Id="rId37" Type="http://schemas.openxmlformats.org/officeDocument/2006/relationships/image" Target="../media/image6.emf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slideLayout" Target="../slideLayouts/slideLayout68.xml"/><Relationship Id="rId28" Type="http://schemas.openxmlformats.org/officeDocument/2006/relationships/slideLayout" Target="../slideLayouts/slideLayout73.xml"/><Relationship Id="rId36" Type="http://schemas.openxmlformats.org/officeDocument/2006/relationships/oleObject" Target="../embeddings/oleObject53.bin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31" Type="http://schemas.openxmlformats.org/officeDocument/2006/relationships/slideLayout" Target="../slideLayouts/slideLayout76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slideLayout" Target="../slideLayouts/slideLayout67.xml"/><Relationship Id="rId27" Type="http://schemas.openxmlformats.org/officeDocument/2006/relationships/slideLayout" Target="../slideLayouts/slideLayout72.xml"/><Relationship Id="rId30" Type="http://schemas.openxmlformats.org/officeDocument/2006/relationships/slideLayout" Target="../slideLayouts/slideLayout75.xml"/><Relationship Id="rId35" Type="http://schemas.openxmlformats.org/officeDocument/2006/relationships/tags" Target="../tags/tag8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tags" Target="../tags/tag158.xml"/><Relationship Id="rId3" Type="http://schemas.openxmlformats.org/officeDocument/2006/relationships/slideLayout" Target="../slideLayouts/slideLayout80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vmlDrawing" Target="../drawings/vmlDrawing59.vml"/><Relationship Id="rId2" Type="http://schemas.openxmlformats.org/officeDocument/2006/relationships/slideLayout" Target="../slideLayouts/slideLayout79.xml"/><Relationship Id="rId16" Type="http://schemas.openxmlformats.org/officeDocument/2006/relationships/theme" Target="../theme/theme4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87.xml"/><Relationship Id="rId19" Type="http://schemas.openxmlformats.org/officeDocument/2006/relationships/oleObject" Target="../embeddings/oleObject103.bin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00703322"/>
              </p:ext>
            </p:extLst>
          </p:nvPr>
        </p:nvGraphicFramePr>
        <p:xfrm>
          <a:off x="1192" y="1591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95" name="Diapositiva think-cell" r:id="rId16" imgW="270" imgH="270" progId="TCLayout.ActiveDocument.1">
                  <p:embed/>
                </p:oleObj>
              </mc:Choice>
              <mc:Fallback>
                <p:oleObj name="Diapositiva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92" y="1591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o 2"/>
          <p:cNvGrpSpPr/>
          <p:nvPr/>
        </p:nvGrpSpPr>
        <p:grpSpPr>
          <a:xfrm>
            <a:off x="685800" y="-602994"/>
            <a:ext cx="7768559" cy="431729"/>
            <a:chOff x="1" y="-602994"/>
            <a:chExt cx="12191999" cy="431729"/>
          </a:xfrm>
        </p:grpSpPr>
        <p:sp>
          <p:nvSpPr>
            <p:cNvPr id="86" name="Rettangolo 85"/>
            <p:cNvSpPr/>
            <p:nvPr/>
          </p:nvSpPr>
          <p:spPr>
            <a:xfrm>
              <a:off x="1" y="-602994"/>
              <a:ext cx="2160000" cy="42734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chemeClr val="tx2"/>
                  </a:solidFill>
                </a:rPr>
                <a:t>GIALLO</a:t>
              </a:r>
            </a:p>
          </p:txBody>
        </p:sp>
        <p:sp>
          <p:nvSpPr>
            <p:cNvPr id="87" name="Rettangolo 86"/>
            <p:cNvSpPr/>
            <p:nvPr/>
          </p:nvSpPr>
          <p:spPr>
            <a:xfrm>
              <a:off x="2508001" y="-602994"/>
              <a:ext cx="2160000" cy="42734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chemeClr val="bg1"/>
                  </a:solidFill>
                </a:rPr>
                <a:t>BLU</a:t>
              </a:r>
            </a:p>
          </p:txBody>
        </p:sp>
        <p:sp>
          <p:nvSpPr>
            <p:cNvPr id="88" name="Rettangolo 87"/>
            <p:cNvSpPr/>
            <p:nvPr/>
          </p:nvSpPr>
          <p:spPr>
            <a:xfrm>
              <a:off x="5016001" y="-598614"/>
              <a:ext cx="2160000" cy="427349"/>
            </a:xfrm>
            <a:prstGeom prst="rect">
              <a:avLst/>
            </a:prstGeom>
            <a:solidFill>
              <a:srgbClr val="3B3B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chemeClr val="bg1"/>
                  </a:solidFill>
                </a:rPr>
                <a:t>GRIGIO1 </a:t>
              </a:r>
              <a:br>
                <a:rPr lang="it-IT" sz="1050" b="1" dirty="0">
                  <a:solidFill>
                    <a:schemeClr val="bg1"/>
                  </a:solidFill>
                </a:rPr>
              </a:br>
              <a:r>
                <a:rPr lang="it-IT" sz="825" b="0" dirty="0">
                  <a:solidFill>
                    <a:schemeClr val="bg1"/>
                  </a:solidFill>
                </a:rPr>
                <a:t>(solo testo)</a:t>
              </a:r>
              <a:endParaRPr lang="it-IT" sz="1050" b="0" dirty="0">
                <a:solidFill>
                  <a:schemeClr val="bg1"/>
                </a:solidFill>
              </a:endParaRPr>
            </a:p>
          </p:txBody>
        </p:sp>
        <p:sp>
          <p:nvSpPr>
            <p:cNvPr id="89" name="Rettangolo 88"/>
            <p:cNvSpPr/>
            <p:nvPr/>
          </p:nvSpPr>
          <p:spPr>
            <a:xfrm>
              <a:off x="7524001" y="-602994"/>
              <a:ext cx="2160000" cy="42734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chemeClr val="bg1"/>
                  </a:solidFill>
                </a:rPr>
                <a:t>GRIGIO2</a:t>
              </a:r>
            </a:p>
          </p:txBody>
        </p:sp>
        <p:sp>
          <p:nvSpPr>
            <p:cNvPr id="29" name="Rettangolo 28"/>
            <p:cNvSpPr/>
            <p:nvPr/>
          </p:nvSpPr>
          <p:spPr>
            <a:xfrm>
              <a:off x="10032000" y="-602994"/>
              <a:ext cx="2160000" cy="42734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chemeClr val="bg2">
                      <a:lumMod val="25000"/>
                    </a:schemeClr>
                  </a:solidFill>
                </a:rPr>
                <a:t>GRIGIO3</a:t>
              </a:r>
            </a:p>
          </p:txBody>
        </p:sp>
      </p:grpSp>
      <p:cxnSp>
        <p:nvCxnSpPr>
          <p:cNvPr id="20" name="Connettore diritto 19"/>
          <p:cNvCxnSpPr/>
          <p:nvPr/>
        </p:nvCxnSpPr>
        <p:spPr>
          <a:xfrm>
            <a:off x="1" y="745215"/>
            <a:ext cx="8586002" cy="0"/>
          </a:xfrm>
          <a:prstGeom prst="line">
            <a:avLst/>
          </a:prstGeom>
          <a:ln w="50800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egnaposto testo 3"/>
          <p:cNvSpPr>
            <a:spLocks noGrp="1"/>
          </p:cNvSpPr>
          <p:nvPr>
            <p:ph type="body" idx="1"/>
          </p:nvPr>
        </p:nvSpPr>
        <p:spPr>
          <a:xfrm>
            <a:off x="278606" y="1016000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1967034" y="6498212"/>
            <a:ext cx="6619564" cy="35979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15" name="Rettangolo 14"/>
          <p:cNvSpPr/>
          <p:nvPr/>
        </p:nvSpPr>
        <p:spPr>
          <a:xfrm rot="10800000">
            <a:off x="-1" y="6498212"/>
            <a:ext cx="469843" cy="3597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pic>
        <p:nvPicPr>
          <p:cNvPr id="16" name="Immagine 15" descr="PI_logo_o_RGB_p.jp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2" y="6498212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18" name="Rettangolo 17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19" name="Rettangolo 18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21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658416" y="6498211"/>
            <a:ext cx="484394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fld id="{B87FA73C-A7EE-4241-A631-441DFD16C2EB}" type="slidenum">
              <a:rPr lang="it-IT" smtClean="0"/>
              <a:pPr/>
              <a:t>‹N›</a:t>
            </a:fld>
            <a:endParaRPr lang="it-IT" dirty="0"/>
          </a:p>
        </p:txBody>
      </p:sp>
      <p:cxnSp>
        <p:nvCxnSpPr>
          <p:cNvPr id="22" name="Connettore diritto 21"/>
          <p:cNvCxnSpPr/>
          <p:nvPr/>
        </p:nvCxnSpPr>
        <p:spPr>
          <a:xfrm>
            <a:off x="8658417" y="74521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riangolo isoscele 1"/>
          <p:cNvSpPr/>
          <p:nvPr/>
        </p:nvSpPr>
        <p:spPr>
          <a:xfrm rot="10800000">
            <a:off x="227346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23" name="Triangolo isoscele 22"/>
          <p:cNvSpPr/>
          <p:nvPr/>
        </p:nvSpPr>
        <p:spPr>
          <a:xfrm rot="10800000">
            <a:off x="8817403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24" name="Triangolo isoscele 23"/>
          <p:cNvSpPr/>
          <p:nvPr/>
        </p:nvSpPr>
        <p:spPr>
          <a:xfrm>
            <a:off x="227346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25" name="Triangolo isoscele 24"/>
          <p:cNvSpPr/>
          <p:nvPr/>
        </p:nvSpPr>
        <p:spPr>
          <a:xfrm>
            <a:off x="8817403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26" name="Triangolo isoscele 25"/>
          <p:cNvSpPr/>
          <p:nvPr/>
        </p:nvSpPr>
        <p:spPr>
          <a:xfrm rot="5400000">
            <a:off x="-223572" y="918032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27" name="Triangolo isoscele 26"/>
          <p:cNvSpPr/>
          <p:nvPr/>
        </p:nvSpPr>
        <p:spPr>
          <a:xfrm rot="5400000">
            <a:off x="-223571" y="6015496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28" name="Triangolo isoscele 27"/>
          <p:cNvSpPr/>
          <p:nvPr/>
        </p:nvSpPr>
        <p:spPr>
          <a:xfrm rot="16200000">
            <a:off x="9231797" y="918032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30" name="Triangolo isoscele 29"/>
          <p:cNvSpPr/>
          <p:nvPr/>
        </p:nvSpPr>
        <p:spPr>
          <a:xfrm rot="16200000">
            <a:off x="9231797" y="6015496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grpSp>
        <p:nvGrpSpPr>
          <p:cNvPr id="31" name="Gruppo 30"/>
          <p:cNvGrpSpPr/>
          <p:nvPr/>
        </p:nvGrpSpPr>
        <p:grpSpPr>
          <a:xfrm>
            <a:off x="685800" y="-602994"/>
            <a:ext cx="7768559" cy="431729"/>
            <a:chOff x="1" y="-602994"/>
            <a:chExt cx="12191999" cy="431729"/>
          </a:xfrm>
        </p:grpSpPr>
        <p:sp>
          <p:nvSpPr>
            <p:cNvPr id="32" name="Rettangolo 31"/>
            <p:cNvSpPr/>
            <p:nvPr/>
          </p:nvSpPr>
          <p:spPr>
            <a:xfrm>
              <a:off x="1" y="-602994"/>
              <a:ext cx="2160000" cy="42734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chemeClr val="tx2"/>
                  </a:solidFill>
                </a:rPr>
                <a:t>GIALLO</a:t>
              </a:r>
            </a:p>
          </p:txBody>
        </p:sp>
        <p:sp>
          <p:nvSpPr>
            <p:cNvPr id="33" name="Rettangolo 32"/>
            <p:cNvSpPr/>
            <p:nvPr/>
          </p:nvSpPr>
          <p:spPr>
            <a:xfrm>
              <a:off x="2508001" y="-602994"/>
              <a:ext cx="2160000" cy="42734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chemeClr val="bg1"/>
                  </a:solidFill>
                </a:rPr>
                <a:t>BLU</a:t>
              </a:r>
            </a:p>
          </p:txBody>
        </p:sp>
        <p:sp>
          <p:nvSpPr>
            <p:cNvPr id="34" name="Rettangolo 33"/>
            <p:cNvSpPr/>
            <p:nvPr/>
          </p:nvSpPr>
          <p:spPr>
            <a:xfrm>
              <a:off x="5016001" y="-598614"/>
              <a:ext cx="2160000" cy="427349"/>
            </a:xfrm>
            <a:prstGeom prst="rect">
              <a:avLst/>
            </a:prstGeom>
            <a:solidFill>
              <a:srgbClr val="3B3B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chemeClr val="bg1"/>
                  </a:solidFill>
                </a:rPr>
                <a:t>GRIGIO1 </a:t>
              </a:r>
              <a:br>
                <a:rPr lang="it-IT" sz="1050" b="1" dirty="0">
                  <a:solidFill>
                    <a:schemeClr val="bg1"/>
                  </a:solidFill>
                </a:rPr>
              </a:br>
              <a:r>
                <a:rPr lang="it-IT" sz="825" b="0" dirty="0">
                  <a:solidFill>
                    <a:schemeClr val="bg1"/>
                  </a:solidFill>
                </a:rPr>
                <a:t>(solo testo)</a:t>
              </a:r>
              <a:endParaRPr lang="it-IT" sz="1050" b="0" dirty="0">
                <a:solidFill>
                  <a:schemeClr val="bg1"/>
                </a:solidFill>
              </a:endParaRPr>
            </a:p>
          </p:txBody>
        </p:sp>
        <p:sp>
          <p:nvSpPr>
            <p:cNvPr id="35" name="Rettangolo 34"/>
            <p:cNvSpPr/>
            <p:nvPr/>
          </p:nvSpPr>
          <p:spPr>
            <a:xfrm>
              <a:off x="7524001" y="-602994"/>
              <a:ext cx="2160000" cy="42734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chemeClr val="bg1"/>
                  </a:solidFill>
                </a:rPr>
                <a:t>GRIGIO2</a:t>
              </a:r>
            </a:p>
          </p:txBody>
        </p:sp>
        <p:sp>
          <p:nvSpPr>
            <p:cNvPr id="36" name="Rettangolo 35"/>
            <p:cNvSpPr/>
            <p:nvPr/>
          </p:nvSpPr>
          <p:spPr>
            <a:xfrm>
              <a:off x="10032000" y="-602994"/>
              <a:ext cx="2160000" cy="42734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chemeClr val="bg2">
                      <a:lumMod val="25000"/>
                    </a:schemeClr>
                  </a:solidFill>
                </a:rPr>
                <a:t>GRIGIO3</a:t>
              </a:r>
            </a:p>
          </p:txBody>
        </p:sp>
      </p:grpSp>
      <p:cxnSp>
        <p:nvCxnSpPr>
          <p:cNvPr id="37" name="Connettore diritto 36"/>
          <p:cNvCxnSpPr/>
          <p:nvPr/>
        </p:nvCxnSpPr>
        <p:spPr>
          <a:xfrm>
            <a:off x="1" y="745215"/>
            <a:ext cx="8586002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ttangolo 37"/>
          <p:cNvSpPr/>
          <p:nvPr/>
        </p:nvSpPr>
        <p:spPr>
          <a:xfrm>
            <a:off x="1967034" y="6498212"/>
            <a:ext cx="6619564" cy="3597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39" name="Rettangolo 38"/>
          <p:cNvSpPr/>
          <p:nvPr/>
        </p:nvSpPr>
        <p:spPr>
          <a:xfrm rot="10800000">
            <a:off x="-1" y="6498212"/>
            <a:ext cx="469843" cy="3597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pic>
        <p:nvPicPr>
          <p:cNvPr id="40" name="Immagine 39" descr="PI_logo_o_RGB_p.jp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2" y="6498212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41" name="Rettangolo 40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42" name="Rettangolo 41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cxnSp>
        <p:nvCxnSpPr>
          <p:cNvPr id="43" name="Connettore diritto 42"/>
          <p:cNvCxnSpPr/>
          <p:nvPr/>
        </p:nvCxnSpPr>
        <p:spPr>
          <a:xfrm>
            <a:off x="8658417" y="74521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riangolo isoscele 43"/>
          <p:cNvSpPr/>
          <p:nvPr/>
        </p:nvSpPr>
        <p:spPr>
          <a:xfrm rot="10800000">
            <a:off x="227346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45" name="Triangolo isoscele 44"/>
          <p:cNvSpPr/>
          <p:nvPr/>
        </p:nvSpPr>
        <p:spPr>
          <a:xfrm rot="10800000">
            <a:off x="8817403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46" name="Triangolo isoscele 45"/>
          <p:cNvSpPr/>
          <p:nvPr/>
        </p:nvSpPr>
        <p:spPr>
          <a:xfrm>
            <a:off x="227346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47" name="Triangolo isoscele 46"/>
          <p:cNvSpPr/>
          <p:nvPr/>
        </p:nvSpPr>
        <p:spPr>
          <a:xfrm>
            <a:off x="8817403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48" name="Triangolo isoscele 47"/>
          <p:cNvSpPr/>
          <p:nvPr/>
        </p:nvSpPr>
        <p:spPr>
          <a:xfrm rot="5400000">
            <a:off x="-223572" y="918032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49" name="Triangolo isoscele 48"/>
          <p:cNvSpPr/>
          <p:nvPr/>
        </p:nvSpPr>
        <p:spPr>
          <a:xfrm rot="5400000">
            <a:off x="-223571" y="6015496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50" name="Triangolo isoscele 49"/>
          <p:cNvSpPr/>
          <p:nvPr/>
        </p:nvSpPr>
        <p:spPr>
          <a:xfrm rot="16200000">
            <a:off x="9231797" y="918032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51" name="Triangolo isoscele 50"/>
          <p:cNvSpPr/>
          <p:nvPr/>
        </p:nvSpPr>
        <p:spPr>
          <a:xfrm rot="16200000">
            <a:off x="9231797" y="6015496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cxnSp>
        <p:nvCxnSpPr>
          <p:cNvPr id="58" name="Connettore diritto 57"/>
          <p:cNvCxnSpPr/>
          <p:nvPr userDrawn="1"/>
        </p:nvCxnSpPr>
        <p:spPr>
          <a:xfrm>
            <a:off x="1" y="745215"/>
            <a:ext cx="8586002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ttangolo 58"/>
          <p:cNvSpPr/>
          <p:nvPr userDrawn="1"/>
        </p:nvSpPr>
        <p:spPr>
          <a:xfrm>
            <a:off x="1967034" y="6498212"/>
            <a:ext cx="6619564" cy="3597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60" name="Rettangolo 59"/>
          <p:cNvSpPr/>
          <p:nvPr userDrawn="1"/>
        </p:nvSpPr>
        <p:spPr>
          <a:xfrm rot="10800000">
            <a:off x="-1" y="6498212"/>
            <a:ext cx="469843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pic>
        <p:nvPicPr>
          <p:cNvPr id="61" name="Immagine 60" descr="PI_logo_o_RGB_p.jpg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2" y="6498212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62" name="Rettangolo 61"/>
          <p:cNvSpPr/>
          <p:nvPr userDrawn="1"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63" name="Rettangolo 62"/>
          <p:cNvSpPr/>
          <p:nvPr userDrawn="1"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cxnSp>
        <p:nvCxnSpPr>
          <p:cNvPr id="64" name="Connettore diritto 63"/>
          <p:cNvCxnSpPr/>
          <p:nvPr userDrawn="1"/>
        </p:nvCxnSpPr>
        <p:spPr>
          <a:xfrm>
            <a:off x="8658417" y="74521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riangolo isoscele 64"/>
          <p:cNvSpPr/>
          <p:nvPr userDrawn="1"/>
        </p:nvSpPr>
        <p:spPr>
          <a:xfrm rot="10800000">
            <a:off x="227346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66" name="Triangolo isoscele 65"/>
          <p:cNvSpPr/>
          <p:nvPr userDrawn="1"/>
        </p:nvSpPr>
        <p:spPr>
          <a:xfrm rot="10800000">
            <a:off x="8817403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67" name="Triangolo isoscele 66"/>
          <p:cNvSpPr/>
          <p:nvPr userDrawn="1"/>
        </p:nvSpPr>
        <p:spPr>
          <a:xfrm>
            <a:off x="227346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68" name="Triangolo isoscele 67"/>
          <p:cNvSpPr/>
          <p:nvPr userDrawn="1"/>
        </p:nvSpPr>
        <p:spPr>
          <a:xfrm>
            <a:off x="8817403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69" name="Triangolo isoscele 68"/>
          <p:cNvSpPr/>
          <p:nvPr userDrawn="1"/>
        </p:nvSpPr>
        <p:spPr>
          <a:xfrm rot="5400000">
            <a:off x="-223572" y="918032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70" name="Triangolo isoscele 69"/>
          <p:cNvSpPr/>
          <p:nvPr userDrawn="1"/>
        </p:nvSpPr>
        <p:spPr>
          <a:xfrm rot="5400000">
            <a:off x="-223571" y="6015496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71" name="Triangolo isoscele 70"/>
          <p:cNvSpPr/>
          <p:nvPr userDrawn="1"/>
        </p:nvSpPr>
        <p:spPr>
          <a:xfrm rot="16200000">
            <a:off x="9231797" y="918032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  <p:sp>
        <p:nvSpPr>
          <p:cNvPr id="72" name="Triangolo isoscele 71"/>
          <p:cNvSpPr/>
          <p:nvPr userDrawn="1"/>
        </p:nvSpPr>
        <p:spPr>
          <a:xfrm rot="16200000">
            <a:off x="9231797" y="6015496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/>
          </a:p>
        </p:txBody>
      </p:sp>
    </p:spTree>
    <p:extLst>
      <p:ext uri="{BB962C8B-B14F-4D97-AF65-F5344CB8AC3E}">
        <p14:creationId xmlns:p14="http://schemas.microsoft.com/office/powerpoint/2010/main" val="1196643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rgbClr val="707173"/>
        </a:buClr>
        <a:buSzPct val="120000"/>
        <a:buFont typeface="Arial" panose="020B0604020202020204" pitchFamily="34" charset="0"/>
        <a:buChar char="•"/>
        <a:defRPr lang="it-IT" sz="15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4"/>
        </a:buClr>
        <a:buSzPct val="100000"/>
        <a:buFont typeface="Courier New" panose="02070309020205020404" pitchFamily="49" charset="0"/>
        <a:buChar char="o"/>
        <a:defRPr lang="it-IT" sz="135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4"/>
        </a:buClr>
        <a:buFont typeface="Arial" panose="020B0604020202020204" pitchFamily="34" charset="0"/>
        <a:buChar char="•"/>
        <a:defRPr lang="it-IT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4"/>
        </a:buClr>
        <a:buSzPct val="80000"/>
        <a:buFont typeface="Courier New" panose="02070309020205020404" pitchFamily="49" charset="0"/>
        <a:buChar char="o"/>
        <a:defRPr lang="it-IT" sz="105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707173"/>
        </a:buClr>
        <a:buSzPct val="60000"/>
        <a:buFont typeface="Arial" panose="020B0604020202020204" pitchFamily="34" charset="0"/>
        <a:buChar char="•"/>
        <a:defRPr lang="it-IT" sz="105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244" userDrawn="1">
          <p15:clr>
            <a:srgbClr val="9FCC3B"/>
          </p15:clr>
        </p15:guide>
        <p15:guide id="2" pos="2880" userDrawn="1">
          <p15:clr>
            <a:srgbClr val="F26B43"/>
          </p15:clr>
        </p15:guide>
        <p15:guide id="3" orient="horz" pos="3851" userDrawn="1">
          <p15:clr>
            <a:srgbClr val="9FCC3B"/>
          </p15:clr>
        </p15:guide>
        <p15:guide id="4" orient="horz" pos="640" userDrawn="1">
          <p15:clr>
            <a:srgbClr val="FBAE40"/>
          </p15:clr>
        </p15:guide>
        <p15:guide id="5" pos="176" userDrawn="1">
          <p15:clr>
            <a:srgbClr val="9FCC3B"/>
          </p15:clr>
        </p15:guide>
        <p15:guide id="6" pos="5585" userDrawn="1">
          <p15:clr>
            <a:srgbClr val="9FCC3B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42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3397356118"/>
              </p:ext>
            </p:extLst>
          </p:nvPr>
        </p:nvGraphicFramePr>
        <p:xfrm>
          <a:off x="1594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" name="Diapositiva think-cell" r:id="rId37" imgW="360" imgH="360" progId="TCLayout.ActiveDocument.1">
                  <p:embed/>
                </p:oleObj>
              </mc:Choice>
              <mc:Fallback>
                <p:oleObj name="Diapositiva think-cell" r:id="rId3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4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06" name="Freeform 6"/>
          <p:cNvSpPr>
            <a:spLocks noChangeAspect="1"/>
          </p:cNvSpPr>
          <p:nvPr/>
        </p:nvSpPr>
        <p:spPr bwMode="auto">
          <a:xfrm>
            <a:off x="6594481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4484694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33ABAD2B-E677-43E4-BC55-2FE0172F2BCD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grpSp>
        <p:nvGrpSpPr>
          <p:cNvPr id="1032" name="Group 45"/>
          <p:cNvGrpSpPr>
            <a:grpSpLocks/>
          </p:cNvGrpSpPr>
          <p:nvPr/>
        </p:nvGrpSpPr>
        <p:grpSpPr bwMode="auto">
          <a:xfrm>
            <a:off x="7037388" y="6505586"/>
            <a:ext cx="1831976" cy="227013"/>
            <a:chOff x="4653757" y="2387600"/>
            <a:chExt cx="5606520" cy="639763"/>
          </a:xfrm>
        </p:grpSpPr>
        <p:sp>
          <p:nvSpPr>
            <p:cNvPr id="47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48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49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50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51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52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53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54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55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56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57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58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59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60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61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1033" name="Group 61"/>
          <p:cNvGrpSpPr>
            <a:grpSpLocks/>
          </p:cNvGrpSpPr>
          <p:nvPr/>
        </p:nvGrpSpPr>
        <p:grpSpPr bwMode="auto">
          <a:xfrm>
            <a:off x="0" y="608025"/>
            <a:ext cx="9144000" cy="41275"/>
            <a:chOff x="0" y="1187350"/>
            <a:chExt cx="9144000" cy="40942"/>
          </a:xfrm>
        </p:grpSpPr>
        <p:cxnSp>
          <p:nvCxnSpPr>
            <p:cNvPr id="63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14480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</p:sldLayoutIdLst>
  <p:hf hdr="0" ftr="0" dt="0"/>
  <p:txStyles>
    <p:titleStyle>
      <a:lvl1pPr algn="l" defTabSz="666674" rtl="0" eaLnBrk="1" fontAlgn="base" hangingPunct="1">
        <a:spcBef>
          <a:spcPct val="0"/>
        </a:spcBef>
        <a:spcAft>
          <a:spcPct val="0"/>
        </a:spcAft>
        <a:defRPr sz="1725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66674" rtl="0" eaLnBrk="1" fontAlgn="base" hangingPunct="1">
        <a:spcBef>
          <a:spcPct val="0"/>
        </a:spcBef>
        <a:spcAft>
          <a:spcPct val="0"/>
        </a:spcAft>
        <a:defRPr sz="1725" b="1">
          <a:solidFill>
            <a:schemeClr val="tx2"/>
          </a:solidFill>
          <a:latin typeface="Calibri" pitchFamily="34" charset="0"/>
          <a:cs typeface="Arial" charset="0"/>
        </a:defRPr>
      </a:lvl2pPr>
      <a:lvl3pPr algn="l" defTabSz="666674" rtl="0" eaLnBrk="1" fontAlgn="base" hangingPunct="1">
        <a:spcBef>
          <a:spcPct val="0"/>
        </a:spcBef>
        <a:spcAft>
          <a:spcPct val="0"/>
        </a:spcAft>
        <a:defRPr sz="1725" b="1">
          <a:solidFill>
            <a:schemeClr val="tx2"/>
          </a:solidFill>
          <a:latin typeface="Calibri" pitchFamily="34" charset="0"/>
          <a:cs typeface="Arial" charset="0"/>
        </a:defRPr>
      </a:lvl3pPr>
      <a:lvl4pPr algn="l" defTabSz="666674" rtl="0" eaLnBrk="1" fontAlgn="base" hangingPunct="1">
        <a:spcBef>
          <a:spcPct val="0"/>
        </a:spcBef>
        <a:spcAft>
          <a:spcPct val="0"/>
        </a:spcAft>
        <a:defRPr sz="1725" b="1">
          <a:solidFill>
            <a:schemeClr val="tx2"/>
          </a:solidFill>
          <a:latin typeface="Calibri" pitchFamily="34" charset="0"/>
          <a:cs typeface="Arial" charset="0"/>
        </a:defRPr>
      </a:lvl4pPr>
      <a:lvl5pPr algn="l" defTabSz="666674" rtl="0" eaLnBrk="1" fontAlgn="base" hangingPunct="1">
        <a:spcBef>
          <a:spcPct val="0"/>
        </a:spcBef>
        <a:spcAft>
          <a:spcPct val="0"/>
        </a:spcAft>
        <a:defRPr sz="1725" b="1">
          <a:solidFill>
            <a:schemeClr val="tx2"/>
          </a:solidFill>
          <a:latin typeface="Calibri" pitchFamily="34" charset="0"/>
          <a:cs typeface="Arial" charset="0"/>
        </a:defRPr>
      </a:lvl5pPr>
      <a:lvl6pPr marL="342861" algn="l" defTabSz="666674" rtl="0" eaLnBrk="1" fontAlgn="base" hangingPunct="1">
        <a:spcBef>
          <a:spcPct val="0"/>
        </a:spcBef>
        <a:spcAft>
          <a:spcPct val="0"/>
        </a:spcAft>
        <a:defRPr sz="1725" b="1">
          <a:solidFill>
            <a:schemeClr val="tx2"/>
          </a:solidFill>
          <a:latin typeface="Trebuchet MS" pitchFamily="34" charset="0"/>
          <a:cs typeface="Arial" charset="0"/>
        </a:defRPr>
      </a:lvl6pPr>
      <a:lvl7pPr marL="685722" algn="l" defTabSz="666674" rtl="0" eaLnBrk="1" fontAlgn="base" hangingPunct="1">
        <a:spcBef>
          <a:spcPct val="0"/>
        </a:spcBef>
        <a:spcAft>
          <a:spcPct val="0"/>
        </a:spcAft>
        <a:defRPr sz="1725" b="1">
          <a:solidFill>
            <a:schemeClr val="tx2"/>
          </a:solidFill>
          <a:latin typeface="Trebuchet MS" pitchFamily="34" charset="0"/>
          <a:cs typeface="Arial" charset="0"/>
        </a:defRPr>
      </a:lvl7pPr>
      <a:lvl8pPr marL="1028584" algn="l" defTabSz="666674" rtl="0" eaLnBrk="1" fontAlgn="base" hangingPunct="1">
        <a:spcBef>
          <a:spcPct val="0"/>
        </a:spcBef>
        <a:spcAft>
          <a:spcPct val="0"/>
        </a:spcAft>
        <a:defRPr sz="1725" b="1">
          <a:solidFill>
            <a:schemeClr val="tx2"/>
          </a:solidFill>
          <a:latin typeface="Trebuchet MS" pitchFamily="34" charset="0"/>
          <a:cs typeface="Arial" charset="0"/>
        </a:defRPr>
      </a:lvl8pPr>
      <a:lvl9pPr marL="1371444" algn="l" defTabSz="666674" rtl="0" eaLnBrk="1" fontAlgn="base" hangingPunct="1">
        <a:spcBef>
          <a:spcPct val="0"/>
        </a:spcBef>
        <a:spcAft>
          <a:spcPct val="0"/>
        </a:spcAft>
        <a:defRPr sz="1725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257146" indent="-257146" algn="l" defTabSz="666674" rtl="0" eaLnBrk="1" fontAlgn="base" hangingPunct="1">
        <a:spcBef>
          <a:spcPct val="20000"/>
        </a:spcBef>
        <a:spcAft>
          <a:spcPct val="0"/>
        </a:spcAft>
        <a:buChar char="•"/>
        <a:defRPr sz="1200" b="1">
          <a:solidFill>
            <a:schemeClr val="tx1"/>
          </a:solidFill>
          <a:latin typeface="+mn-lt"/>
          <a:ea typeface="+mn-ea"/>
          <a:cs typeface="+mn-cs"/>
        </a:defRPr>
      </a:lvl1pPr>
      <a:lvl2pPr marL="172622" indent="-172622" algn="l" defTabSz="666674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Calibri" pitchFamily="34" charset="0"/>
        <a:buChar char="→"/>
        <a:defRPr sz="1200">
          <a:solidFill>
            <a:schemeClr val="tx1"/>
          </a:solidFill>
          <a:latin typeface="+mn-lt"/>
          <a:cs typeface="+mn-cs"/>
        </a:defRPr>
      </a:lvl2pPr>
      <a:lvl3pPr marL="342861" indent="-172622" algn="l" defTabSz="666674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1200">
          <a:solidFill>
            <a:schemeClr val="tx1"/>
          </a:solidFill>
          <a:latin typeface="+mn-lt"/>
          <a:cs typeface="+mn-cs"/>
        </a:defRPr>
      </a:lvl3pPr>
      <a:lvl4pPr marL="685722" indent="-172622" algn="l" defTabSz="666674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Calibri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4pPr>
      <a:lvl5pPr marL="1028584" indent="-172622" algn="l" defTabSz="666674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5pPr>
      <a:lvl6pPr marL="1841687" indent="-165479" algn="l" defTabSz="666674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2184548" indent="-165479" algn="l" defTabSz="666674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527410" indent="-165479" algn="l" defTabSz="666674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870271" indent="-165479" algn="l" defTabSz="666674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61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22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84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44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05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66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27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888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42" hidden="1"/>
          <p:cNvGraphicFramePr>
            <a:graphicFrameLocks noChangeAspect="1"/>
          </p:cNvGraphicFramePr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434054749"/>
              </p:ext>
            </p:extLst>
          </p:nvPr>
        </p:nvGraphicFramePr>
        <p:xfrm>
          <a:off x="1594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33" name="Diapositiva think-cell" r:id="rId36" imgW="360" imgH="360" progId="TCLayout.ActiveDocument.1">
                  <p:embed/>
                </p:oleObj>
              </mc:Choice>
              <mc:Fallback>
                <p:oleObj name="Diapositiva think-cell" r:id="rId3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4" y="159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06" name="Freeform 6"/>
          <p:cNvSpPr>
            <a:spLocks noChangeAspect="1"/>
          </p:cNvSpPr>
          <p:nvPr/>
        </p:nvSpPr>
        <p:spPr bwMode="auto">
          <a:xfrm>
            <a:off x="6594481" y="6345247"/>
            <a:ext cx="2549525" cy="512763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anchor="ctr" anchorCtr="1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it-IT" sz="900">
              <a:solidFill>
                <a:srgbClr val="000000"/>
              </a:solidFill>
            </a:endParaRP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4484694" y="6675447"/>
            <a:ext cx="174625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666674" fontAlgn="base">
              <a:spcBef>
                <a:spcPct val="0"/>
              </a:spcBef>
              <a:defRPr/>
            </a:pPr>
            <a:fld id="{33ABAD2B-E677-43E4-BC55-2FE0172F2BCD}" type="slidenum">
              <a:rPr lang="it-IT" sz="900">
                <a:solidFill>
                  <a:srgbClr val="0047A9"/>
                </a:solidFill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</a:rPr>
              <a:pPr defTabSz="666674" fontAlgn="base">
                <a:spcBef>
                  <a:spcPct val="0"/>
                </a:spcBef>
                <a:defRPr/>
              </a:pPr>
              <a:t>‹N›</a:t>
            </a:fld>
            <a:endParaRPr lang="it-IT" sz="900" dirty="0">
              <a:solidFill>
                <a:srgbClr val="0047A9"/>
              </a:solidFill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</a:endParaRPr>
          </a:p>
        </p:txBody>
      </p:sp>
      <p:grpSp>
        <p:nvGrpSpPr>
          <p:cNvPr id="1032" name="Group 45"/>
          <p:cNvGrpSpPr>
            <a:grpSpLocks/>
          </p:cNvGrpSpPr>
          <p:nvPr/>
        </p:nvGrpSpPr>
        <p:grpSpPr bwMode="auto">
          <a:xfrm>
            <a:off x="7037388" y="6505586"/>
            <a:ext cx="1831976" cy="227013"/>
            <a:chOff x="4653757" y="2387600"/>
            <a:chExt cx="5606520" cy="639763"/>
          </a:xfrm>
        </p:grpSpPr>
        <p:sp>
          <p:nvSpPr>
            <p:cNvPr id="47" name="Freeform 6"/>
            <p:cNvSpPr>
              <a:spLocks noEditPoints="1"/>
            </p:cNvSpPr>
            <p:nvPr userDrawn="1"/>
          </p:nvSpPr>
          <p:spPr bwMode="auto">
            <a:xfrm>
              <a:off x="6810858" y="2571030"/>
              <a:ext cx="524700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48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2150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49" name="Freeform 8"/>
            <p:cNvSpPr>
              <a:spLocks noEditPoints="1"/>
            </p:cNvSpPr>
            <p:nvPr userDrawn="1"/>
          </p:nvSpPr>
          <p:spPr bwMode="auto">
            <a:xfrm>
              <a:off x="5275624" y="2571030"/>
              <a:ext cx="563567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50" name="Freeform 9"/>
            <p:cNvSpPr>
              <a:spLocks/>
            </p:cNvSpPr>
            <p:nvPr userDrawn="1"/>
          </p:nvSpPr>
          <p:spPr bwMode="auto">
            <a:xfrm>
              <a:off x="5878058" y="2571030"/>
              <a:ext cx="471257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51" name="Freeform 10"/>
            <p:cNvSpPr>
              <a:spLocks/>
            </p:cNvSpPr>
            <p:nvPr userDrawn="1"/>
          </p:nvSpPr>
          <p:spPr bwMode="auto">
            <a:xfrm>
              <a:off x="6373608" y="2454709"/>
              <a:ext cx="388667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52" name="Freeform 11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53" name="Freeform 12"/>
            <p:cNvSpPr>
              <a:spLocks noEditPoints="1"/>
            </p:cNvSpPr>
            <p:nvPr userDrawn="1"/>
          </p:nvSpPr>
          <p:spPr bwMode="auto">
            <a:xfrm>
              <a:off x="7403575" y="2387600"/>
              <a:ext cx="111740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54" name="Freeform 13"/>
            <p:cNvSpPr>
              <a:spLocks/>
            </p:cNvSpPr>
            <p:nvPr userDrawn="1"/>
          </p:nvSpPr>
          <p:spPr bwMode="auto">
            <a:xfrm>
              <a:off x="7573616" y="2459182"/>
              <a:ext cx="286643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55" name="Freeform 14"/>
            <p:cNvSpPr>
              <a:spLocks noEditPoints="1"/>
            </p:cNvSpPr>
            <p:nvPr userDrawn="1"/>
          </p:nvSpPr>
          <p:spPr bwMode="auto">
            <a:xfrm>
              <a:off x="7903982" y="2562082"/>
              <a:ext cx="417817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56" name="Rectangle 15"/>
            <p:cNvSpPr>
              <a:spLocks noChangeArrowheads="1"/>
            </p:cNvSpPr>
            <p:nvPr userDrawn="1"/>
          </p:nvSpPr>
          <p:spPr bwMode="auto">
            <a:xfrm>
              <a:off x="8414109" y="2387600"/>
              <a:ext cx="87450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57" name="Freeform 16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58" name="Freeform 17"/>
            <p:cNvSpPr>
              <a:spLocks noEditPoints="1"/>
            </p:cNvSpPr>
            <p:nvPr userDrawn="1"/>
          </p:nvSpPr>
          <p:spPr bwMode="auto">
            <a:xfrm>
              <a:off x="8613299" y="2387600"/>
              <a:ext cx="111743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59" name="Freeform 18"/>
            <p:cNvSpPr>
              <a:spLocks noEditPoints="1"/>
            </p:cNvSpPr>
            <p:nvPr userDrawn="1"/>
          </p:nvSpPr>
          <p:spPr bwMode="auto">
            <a:xfrm>
              <a:off x="8802776" y="2562082"/>
              <a:ext cx="412957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60" name="Freeform 19"/>
            <p:cNvSpPr>
              <a:spLocks/>
            </p:cNvSpPr>
            <p:nvPr userDrawn="1"/>
          </p:nvSpPr>
          <p:spPr bwMode="auto">
            <a:xfrm>
              <a:off x="9312900" y="2562082"/>
              <a:ext cx="427534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  <p:sp>
          <p:nvSpPr>
            <p:cNvPr id="61" name="Freeform 20"/>
            <p:cNvSpPr>
              <a:spLocks noEditPoints="1"/>
            </p:cNvSpPr>
            <p:nvPr userDrawn="1"/>
          </p:nvSpPr>
          <p:spPr bwMode="auto">
            <a:xfrm>
              <a:off x="9808450" y="2562082"/>
              <a:ext cx="451827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it-IT" sz="900">
                <a:solidFill>
                  <a:srgbClr val="FFFFFF"/>
                </a:solidFill>
              </a:endParaRPr>
            </a:p>
          </p:txBody>
        </p:sp>
      </p:grpSp>
      <p:grpSp>
        <p:nvGrpSpPr>
          <p:cNvPr id="1033" name="Group 61"/>
          <p:cNvGrpSpPr>
            <a:grpSpLocks/>
          </p:cNvGrpSpPr>
          <p:nvPr/>
        </p:nvGrpSpPr>
        <p:grpSpPr bwMode="auto">
          <a:xfrm>
            <a:off x="0" y="608025"/>
            <a:ext cx="9144000" cy="41275"/>
            <a:chOff x="0" y="1187350"/>
            <a:chExt cx="9144000" cy="40942"/>
          </a:xfrm>
        </p:grpSpPr>
        <p:cxnSp>
          <p:nvCxnSpPr>
            <p:cNvPr id="63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39335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  <p:sldLayoutId id="2147483793" r:id="rId8"/>
    <p:sldLayoutId id="2147483794" r:id="rId9"/>
    <p:sldLayoutId id="2147483795" r:id="rId10"/>
    <p:sldLayoutId id="2147483796" r:id="rId11"/>
    <p:sldLayoutId id="2147483797" r:id="rId12"/>
    <p:sldLayoutId id="2147483798" r:id="rId13"/>
    <p:sldLayoutId id="2147483799" r:id="rId14"/>
    <p:sldLayoutId id="2147483800" r:id="rId15"/>
    <p:sldLayoutId id="2147483801" r:id="rId16"/>
    <p:sldLayoutId id="2147483802" r:id="rId17"/>
    <p:sldLayoutId id="2147483803" r:id="rId18"/>
    <p:sldLayoutId id="2147483804" r:id="rId19"/>
    <p:sldLayoutId id="2147483805" r:id="rId20"/>
    <p:sldLayoutId id="2147483806" r:id="rId21"/>
    <p:sldLayoutId id="2147483807" r:id="rId22"/>
    <p:sldLayoutId id="2147483808" r:id="rId23"/>
    <p:sldLayoutId id="2147483809" r:id="rId24"/>
    <p:sldLayoutId id="2147483810" r:id="rId25"/>
    <p:sldLayoutId id="2147483811" r:id="rId26"/>
    <p:sldLayoutId id="2147483812" r:id="rId27"/>
    <p:sldLayoutId id="2147483813" r:id="rId28"/>
    <p:sldLayoutId id="2147483814" r:id="rId29"/>
    <p:sldLayoutId id="2147483815" r:id="rId30"/>
    <p:sldLayoutId id="2147483816" r:id="rId31"/>
    <p:sldLayoutId id="2147483817" r:id="rId32"/>
  </p:sldLayoutIdLst>
  <p:hf hdr="0" ftr="0" dt="0"/>
  <p:txStyles>
    <p:titleStyle>
      <a:lvl1pPr algn="l" defTabSz="666674" rtl="0" eaLnBrk="1" fontAlgn="base" hangingPunct="1">
        <a:spcBef>
          <a:spcPct val="0"/>
        </a:spcBef>
        <a:spcAft>
          <a:spcPct val="0"/>
        </a:spcAft>
        <a:defRPr sz="1725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66674" rtl="0" eaLnBrk="1" fontAlgn="base" hangingPunct="1">
        <a:spcBef>
          <a:spcPct val="0"/>
        </a:spcBef>
        <a:spcAft>
          <a:spcPct val="0"/>
        </a:spcAft>
        <a:defRPr sz="1725" b="1">
          <a:solidFill>
            <a:schemeClr val="tx2"/>
          </a:solidFill>
          <a:latin typeface="Calibri" pitchFamily="34" charset="0"/>
          <a:cs typeface="Arial" charset="0"/>
        </a:defRPr>
      </a:lvl2pPr>
      <a:lvl3pPr algn="l" defTabSz="666674" rtl="0" eaLnBrk="1" fontAlgn="base" hangingPunct="1">
        <a:spcBef>
          <a:spcPct val="0"/>
        </a:spcBef>
        <a:spcAft>
          <a:spcPct val="0"/>
        </a:spcAft>
        <a:defRPr sz="1725" b="1">
          <a:solidFill>
            <a:schemeClr val="tx2"/>
          </a:solidFill>
          <a:latin typeface="Calibri" pitchFamily="34" charset="0"/>
          <a:cs typeface="Arial" charset="0"/>
        </a:defRPr>
      </a:lvl3pPr>
      <a:lvl4pPr algn="l" defTabSz="666674" rtl="0" eaLnBrk="1" fontAlgn="base" hangingPunct="1">
        <a:spcBef>
          <a:spcPct val="0"/>
        </a:spcBef>
        <a:spcAft>
          <a:spcPct val="0"/>
        </a:spcAft>
        <a:defRPr sz="1725" b="1">
          <a:solidFill>
            <a:schemeClr val="tx2"/>
          </a:solidFill>
          <a:latin typeface="Calibri" pitchFamily="34" charset="0"/>
          <a:cs typeface="Arial" charset="0"/>
        </a:defRPr>
      </a:lvl4pPr>
      <a:lvl5pPr algn="l" defTabSz="666674" rtl="0" eaLnBrk="1" fontAlgn="base" hangingPunct="1">
        <a:spcBef>
          <a:spcPct val="0"/>
        </a:spcBef>
        <a:spcAft>
          <a:spcPct val="0"/>
        </a:spcAft>
        <a:defRPr sz="1725" b="1">
          <a:solidFill>
            <a:schemeClr val="tx2"/>
          </a:solidFill>
          <a:latin typeface="Calibri" pitchFamily="34" charset="0"/>
          <a:cs typeface="Arial" charset="0"/>
        </a:defRPr>
      </a:lvl5pPr>
      <a:lvl6pPr marL="342861" algn="l" defTabSz="666674" rtl="0" eaLnBrk="1" fontAlgn="base" hangingPunct="1">
        <a:spcBef>
          <a:spcPct val="0"/>
        </a:spcBef>
        <a:spcAft>
          <a:spcPct val="0"/>
        </a:spcAft>
        <a:defRPr sz="1725" b="1">
          <a:solidFill>
            <a:schemeClr val="tx2"/>
          </a:solidFill>
          <a:latin typeface="Trebuchet MS" pitchFamily="34" charset="0"/>
          <a:cs typeface="Arial" charset="0"/>
        </a:defRPr>
      </a:lvl6pPr>
      <a:lvl7pPr marL="685722" algn="l" defTabSz="666674" rtl="0" eaLnBrk="1" fontAlgn="base" hangingPunct="1">
        <a:spcBef>
          <a:spcPct val="0"/>
        </a:spcBef>
        <a:spcAft>
          <a:spcPct val="0"/>
        </a:spcAft>
        <a:defRPr sz="1725" b="1">
          <a:solidFill>
            <a:schemeClr val="tx2"/>
          </a:solidFill>
          <a:latin typeface="Trebuchet MS" pitchFamily="34" charset="0"/>
          <a:cs typeface="Arial" charset="0"/>
        </a:defRPr>
      </a:lvl7pPr>
      <a:lvl8pPr marL="1028584" algn="l" defTabSz="666674" rtl="0" eaLnBrk="1" fontAlgn="base" hangingPunct="1">
        <a:spcBef>
          <a:spcPct val="0"/>
        </a:spcBef>
        <a:spcAft>
          <a:spcPct val="0"/>
        </a:spcAft>
        <a:defRPr sz="1725" b="1">
          <a:solidFill>
            <a:schemeClr val="tx2"/>
          </a:solidFill>
          <a:latin typeface="Trebuchet MS" pitchFamily="34" charset="0"/>
          <a:cs typeface="Arial" charset="0"/>
        </a:defRPr>
      </a:lvl8pPr>
      <a:lvl9pPr marL="1371444" algn="l" defTabSz="666674" rtl="0" eaLnBrk="1" fontAlgn="base" hangingPunct="1">
        <a:spcBef>
          <a:spcPct val="0"/>
        </a:spcBef>
        <a:spcAft>
          <a:spcPct val="0"/>
        </a:spcAft>
        <a:defRPr sz="1725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257146" indent="-257146" algn="l" defTabSz="666674" rtl="0" eaLnBrk="1" fontAlgn="base" hangingPunct="1">
        <a:spcBef>
          <a:spcPct val="20000"/>
        </a:spcBef>
        <a:spcAft>
          <a:spcPct val="0"/>
        </a:spcAft>
        <a:buChar char="•"/>
        <a:defRPr sz="1200" b="1">
          <a:solidFill>
            <a:schemeClr val="tx1"/>
          </a:solidFill>
          <a:latin typeface="+mn-lt"/>
          <a:ea typeface="+mn-ea"/>
          <a:cs typeface="+mn-cs"/>
        </a:defRPr>
      </a:lvl1pPr>
      <a:lvl2pPr marL="172622" indent="-172622" algn="l" defTabSz="666674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Calibri" pitchFamily="34" charset="0"/>
        <a:buChar char="→"/>
        <a:defRPr sz="1200">
          <a:solidFill>
            <a:schemeClr val="tx1"/>
          </a:solidFill>
          <a:latin typeface="+mn-lt"/>
          <a:cs typeface="+mn-cs"/>
        </a:defRPr>
      </a:lvl2pPr>
      <a:lvl3pPr marL="342861" indent="-172622" algn="l" defTabSz="666674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1200">
          <a:solidFill>
            <a:schemeClr val="tx1"/>
          </a:solidFill>
          <a:latin typeface="+mn-lt"/>
          <a:cs typeface="+mn-cs"/>
        </a:defRPr>
      </a:lvl3pPr>
      <a:lvl4pPr marL="685722" indent="-172622" algn="l" defTabSz="666674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Calibri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4pPr>
      <a:lvl5pPr marL="1028584" indent="-172622" algn="l" defTabSz="666674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5pPr>
      <a:lvl6pPr marL="1841687" indent="-165479" algn="l" defTabSz="666674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2184548" indent="-165479" algn="l" defTabSz="666674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527410" indent="-165479" algn="l" defTabSz="666674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870271" indent="-165479" algn="l" defTabSz="666674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61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22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84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44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05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66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27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888" algn="l" defTabSz="685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976028032"/>
              </p:ext>
            </p:extLst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96" name="Diapositiva think-cell" r:id="rId19" imgW="270" imgH="270" progId="TCLayout.ActiveDocument.1">
                  <p:embed/>
                </p:oleObj>
              </mc:Choice>
              <mc:Fallback>
                <p:oleObj name="Diapositiva think-cell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o 2"/>
          <p:cNvGrpSpPr/>
          <p:nvPr/>
        </p:nvGrpSpPr>
        <p:grpSpPr>
          <a:xfrm>
            <a:off x="685801" y="-602994"/>
            <a:ext cx="7768559" cy="431729"/>
            <a:chOff x="1" y="-602994"/>
            <a:chExt cx="12191999" cy="431729"/>
          </a:xfrm>
        </p:grpSpPr>
        <p:sp>
          <p:nvSpPr>
            <p:cNvPr id="86" name="Rettangolo 85"/>
            <p:cNvSpPr/>
            <p:nvPr/>
          </p:nvSpPr>
          <p:spPr>
            <a:xfrm>
              <a:off x="1" y="-602994"/>
              <a:ext cx="2160000" cy="42734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0047BB"/>
                  </a:solidFill>
                </a:rPr>
                <a:t>GIALLO</a:t>
              </a:r>
            </a:p>
          </p:txBody>
        </p:sp>
        <p:sp>
          <p:nvSpPr>
            <p:cNvPr id="87" name="Rettangolo 86"/>
            <p:cNvSpPr/>
            <p:nvPr/>
          </p:nvSpPr>
          <p:spPr>
            <a:xfrm>
              <a:off x="2508001" y="-602994"/>
              <a:ext cx="2160000" cy="42734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BLU</a:t>
              </a:r>
            </a:p>
          </p:txBody>
        </p:sp>
        <p:sp>
          <p:nvSpPr>
            <p:cNvPr id="88" name="Rettangolo 87"/>
            <p:cNvSpPr/>
            <p:nvPr/>
          </p:nvSpPr>
          <p:spPr>
            <a:xfrm>
              <a:off x="5016001" y="-598614"/>
              <a:ext cx="2160000" cy="427349"/>
            </a:xfrm>
            <a:prstGeom prst="rect">
              <a:avLst/>
            </a:prstGeom>
            <a:solidFill>
              <a:srgbClr val="3B3B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1 </a:t>
              </a:r>
              <a:br>
                <a:rPr lang="it-IT" sz="1050" b="1" dirty="0">
                  <a:solidFill>
                    <a:prstClr val="white"/>
                  </a:solidFill>
                </a:rPr>
              </a:br>
              <a:r>
                <a:rPr lang="it-IT" sz="825" dirty="0">
                  <a:solidFill>
                    <a:prstClr val="white"/>
                  </a:solidFill>
                </a:rPr>
                <a:t>(solo testo)</a:t>
              </a:r>
              <a:endParaRPr lang="it-IT" sz="1050" dirty="0">
                <a:solidFill>
                  <a:prstClr val="white"/>
                </a:solidFill>
              </a:endParaRPr>
            </a:p>
          </p:txBody>
        </p:sp>
        <p:sp>
          <p:nvSpPr>
            <p:cNvPr id="89" name="Rettangolo 88"/>
            <p:cNvSpPr/>
            <p:nvPr/>
          </p:nvSpPr>
          <p:spPr>
            <a:xfrm>
              <a:off x="7524001" y="-602994"/>
              <a:ext cx="2160000" cy="42734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2</a:t>
              </a:r>
            </a:p>
          </p:txBody>
        </p:sp>
        <p:sp>
          <p:nvSpPr>
            <p:cNvPr id="29" name="Rettangolo 28"/>
            <p:cNvSpPr/>
            <p:nvPr/>
          </p:nvSpPr>
          <p:spPr>
            <a:xfrm>
              <a:off x="10032000" y="-602994"/>
              <a:ext cx="2160000" cy="42734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E7E6E6">
                      <a:lumMod val="25000"/>
                    </a:srgbClr>
                  </a:solidFill>
                </a:rPr>
                <a:t>GRIGIO3</a:t>
              </a:r>
            </a:p>
          </p:txBody>
        </p:sp>
      </p:grpSp>
      <p:cxnSp>
        <p:nvCxnSpPr>
          <p:cNvPr id="20" name="Connettore diritto 19"/>
          <p:cNvCxnSpPr/>
          <p:nvPr/>
        </p:nvCxnSpPr>
        <p:spPr>
          <a:xfrm>
            <a:off x="1" y="745215"/>
            <a:ext cx="8586002" cy="0"/>
          </a:xfrm>
          <a:prstGeom prst="line">
            <a:avLst/>
          </a:prstGeom>
          <a:ln w="50800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egnaposto testo 3"/>
          <p:cNvSpPr>
            <a:spLocks noGrp="1"/>
          </p:cNvSpPr>
          <p:nvPr>
            <p:ph type="body" idx="1"/>
          </p:nvPr>
        </p:nvSpPr>
        <p:spPr>
          <a:xfrm>
            <a:off x="278606" y="1016000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1967034" y="6498232"/>
            <a:ext cx="6619564" cy="35979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5" name="Rettangolo 14"/>
          <p:cNvSpPr/>
          <p:nvPr/>
        </p:nvSpPr>
        <p:spPr>
          <a:xfrm rot="10800000">
            <a:off x="6" y="6498212"/>
            <a:ext cx="469843" cy="3597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16" name="Immagine 15" descr="PI_logo_o_RGB_p.jpg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32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18" name="Rettangolo 17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19" name="Rettangolo 18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1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658418" y="6498231"/>
            <a:ext cx="484394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cxnSp>
        <p:nvCxnSpPr>
          <p:cNvPr id="22" name="Connettore diritto 21"/>
          <p:cNvCxnSpPr/>
          <p:nvPr/>
        </p:nvCxnSpPr>
        <p:spPr>
          <a:xfrm>
            <a:off x="8658417" y="74521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riangolo isoscele 1"/>
          <p:cNvSpPr/>
          <p:nvPr/>
        </p:nvSpPr>
        <p:spPr>
          <a:xfrm rot="10800000">
            <a:off x="227346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3" name="Triangolo isoscele 22"/>
          <p:cNvSpPr/>
          <p:nvPr/>
        </p:nvSpPr>
        <p:spPr>
          <a:xfrm rot="10800000">
            <a:off x="8817403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4" name="Triangolo isoscele 23"/>
          <p:cNvSpPr/>
          <p:nvPr/>
        </p:nvSpPr>
        <p:spPr>
          <a:xfrm>
            <a:off x="227346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5" name="Triangolo isoscele 24"/>
          <p:cNvSpPr/>
          <p:nvPr/>
        </p:nvSpPr>
        <p:spPr>
          <a:xfrm>
            <a:off x="8817403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6" name="Triangolo isoscele 25"/>
          <p:cNvSpPr/>
          <p:nvPr/>
        </p:nvSpPr>
        <p:spPr>
          <a:xfrm rot="5400000">
            <a:off x="-223572" y="918033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7" name="Triangolo isoscele 26"/>
          <p:cNvSpPr/>
          <p:nvPr/>
        </p:nvSpPr>
        <p:spPr>
          <a:xfrm rot="5400000">
            <a:off x="-223571" y="6015516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28" name="Triangolo isoscele 27"/>
          <p:cNvSpPr/>
          <p:nvPr/>
        </p:nvSpPr>
        <p:spPr>
          <a:xfrm rot="16200000">
            <a:off x="9231797" y="918033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0" name="Triangolo isoscele 29"/>
          <p:cNvSpPr/>
          <p:nvPr/>
        </p:nvSpPr>
        <p:spPr>
          <a:xfrm rot="16200000">
            <a:off x="9231797" y="6015516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grpSp>
        <p:nvGrpSpPr>
          <p:cNvPr id="31" name="Gruppo 30"/>
          <p:cNvGrpSpPr/>
          <p:nvPr/>
        </p:nvGrpSpPr>
        <p:grpSpPr>
          <a:xfrm>
            <a:off x="685801" y="-602994"/>
            <a:ext cx="7768559" cy="431729"/>
            <a:chOff x="1" y="-602994"/>
            <a:chExt cx="12191999" cy="431729"/>
          </a:xfrm>
        </p:grpSpPr>
        <p:sp>
          <p:nvSpPr>
            <p:cNvPr id="32" name="Rettangolo 31"/>
            <p:cNvSpPr/>
            <p:nvPr/>
          </p:nvSpPr>
          <p:spPr>
            <a:xfrm>
              <a:off x="1" y="-602994"/>
              <a:ext cx="2160000" cy="42734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0047BB"/>
                  </a:solidFill>
                </a:rPr>
                <a:t>GIALLO</a:t>
              </a:r>
            </a:p>
          </p:txBody>
        </p:sp>
        <p:sp>
          <p:nvSpPr>
            <p:cNvPr id="33" name="Rettangolo 32"/>
            <p:cNvSpPr/>
            <p:nvPr/>
          </p:nvSpPr>
          <p:spPr>
            <a:xfrm>
              <a:off x="2508001" y="-602994"/>
              <a:ext cx="2160000" cy="42734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BLU</a:t>
              </a:r>
            </a:p>
          </p:txBody>
        </p:sp>
        <p:sp>
          <p:nvSpPr>
            <p:cNvPr id="34" name="Rettangolo 33"/>
            <p:cNvSpPr/>
            <p:nvPr/>
          </p:nvSpPr>
          <p:spPr>
            <a:xfrm>
              <a:off x="5016001" y="-598614"/>
              <a:ext cx="2160000" cy="427349"/>
            </a:xfrm>
            <a:prstGeom prst="rect">
              <a:avLst/>
            </a:prstGeom>
            <a:solidFill>
              <a:srgbClr val="3B3B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1 </a:t>
              </a:r>
              <a:br>
                <a:rPr lang="it-IT" sz="1050" b="1" dirty="0">
                  <a:solidFill>
                    <a:prstClr val="white"/>
                  </a:solidFill>
                </a:rPr>
              </a:br>
              <a:r>
                <a:rPr lang="it-IT" sz="825" dirty="0">
                  <a:solidFill>
                    <a:prstClr val="white"/>
                  </a:solidFill>
                </a:rPr>
                <a:t>(solo testo)</a:t>
              </a:r>
              <a:endParaRPr lang="it-IT" sz="1050" dirty="0">
                <a:solidFill>
                  <a:prstClr val="white"/>
                </a:solidFill>
              </a:endParaRPr>
            </a:p>
          </p:txBody>
        </p:sp>
        <p:sp>
          <p:nvSpPr>
            <p:cNvPr id="35" name="Rettangolo 34"/>
            <p:cNvSpPr/>
            <p:nvPr/>
          </p:nvSpPr>
          <p:spPr>
            <a:xfrm>
              <a:off x="7524001" y="-602994"/>
              <a:ext cx="2160000" cy="42734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2</a:t>
              </a:r>
            </a:p>
          </p:txBody>
        </p:sp>
        <p:sp>
          <p:nvSpPr>
            <p:cNvPr id="36" name="Rettangolo 35"/>
            <p:cNvSpPr/>
            <p:nvPr/>
          </p:nvSpPr>
          <p:spPr>
            <a:xfrm>
              <a:off x="10032000" y="-602994"/>
              <a:ext cx="2160000" cy="42734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E7E6E6">
                      <a:lumMod val="25000"/>
                    </a:srgbClr>
                  </a:solidFill>
                </a:rPr>
                <a:t>GRIGIO3</a:t>
              </a:r>
            </a:p>
          </p:txBody>
        </p:sp>
      </p:grpSp>
      <p:cxnSp>
        <p:nvCxnSpPr>
          <p:cNvPr id="37" name="Connettore diritto 36"/>
          <p:cNvCxnSpPr/>
          <p:nvPr/>
        </p:nvCxnSpPr>
        <p:spPr>
          <a:xfrm>
            <a:off x="1" y="745215"/>
            <a:ext cx="8586002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ttangolo 37"/>
          <p:cNvSpPr/>
          <p:nvPr/>
        </p:nvSpPr>
        <p:spPr>
          <a:xfrm>
            <a:off x="1967034" y="6498232"/>
            <a:ext cx="6619564" cy="3597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39" name="Rettangolo 38"/>
          <p:cNvSpPr/>
          <p:nvPr/>
        </p:nvSpPr>
        <p:spPr>
          <a:xfrm rot="10800000">
            <a:off x="6" y="6498212"/>
            <a:ext cx="469843" cy="3597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40" name="Immagine 39" descr="PI_logo_o_RGB_p.jpg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32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41" name="Rettangolo 40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2" name="Rettangolo 41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43" name="Connettore diritto 42"/>
          <p:cNvCxnSpPr/>
          <p:nvPr/>
        </p:nvCxnSpPr>
        <p:spPr>
          <a:xfrm>
            <a:off x="8658417" y="74521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riangolo isoscele 43"/>
          <p:cNvSpPr/>
          <p:nvPr/>
        </p:nvSpPr>
        <p:spPr>
          <a:xfrm rot="10800000">
            <a:off x="227346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5" name="Triangolo isoscele 44"/>
          <p:cNvSpPr/>
          <p:nvPr/>
        </p:nvSpPr>
        <p:spPr>
          <a:xfrm rot="10800000">
            <a:off x="8817403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6" name="Triangolo isoscele 45"/>
          <p:cNvSpPr/>
          <p:nvPr/>
        </p:nvSpPr>
        <p:spPr>
          <a:xfrm>
            <a:off x="227346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7" name="Triangolo isoscele 46"/>
          <p:cNvSpPr/>
          <p:nvPr/>
        </p:nvSpPr>
        <p:spPr>
          <a:xfrm>
            <a:off x="8817403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8" name="Triangolo isoscele 47"/>
          <p:cNvSpPr/>
          <p:nvPr/>
        </p:nvSpPr>
        <p:spPr>
          <a:xfrm rot="5400000">
            <a:off x="-223572" y="918033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49" name="Triangolo isoscele 48"/>
          <p:cNvSpPr/>
          <p:nvPr/>
        </p:nvSpPr>
        <p:spPr>
          <a:xfrm rot="5400000">
            <a:off x="-223571" y="6015516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50" name="Triangolo isoscele 49"/>
          <p:cNvSpPr/>
          <p:nvPr/>
        </p:nvSpPr>
        <p:spPr>
          <a:xfrm rot="16200000">
            <a:off x="9231797" y="918033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51" name="Triangolo isoscele 50"/>
          <p:cNvSpPr/>
          <p:nvPr/>
        </p:nvSpPr>
        <p:spPr>
          <a:xfrm rot="16200000">
            <a:off x="9231797" y="6015516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58" name="Connettore diritto 57"/>
          <p:cNvCxnSpPr/>
          <p:nvPr userDrawn="1"/>
        </p:nvCxnSpPr>
        <p:spPr>
          <a:xfrm>
            <a:off x="1" y="745215"/>
            <a:ext cx="8586002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ttangolo 58"/>
          <p:cNvSpPr/>
          <p:nvPr userDrawn="1"/>
        </p:nvSpPr>
        <p:spPr>
          <a:xfrm>
            <a:off x="1967034" y="6498232"/>
            <a:ext cx="6619564" cy="3597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0" name="Rettangolo 59"/>
          <p:cNvSpPr/>
          <p:nvPr userDrawn="1"/>
        </p:nvSpPr>
        <p:spPr>
          <a:xfrm rot="10800000">
            <a:off x="6" y="6498212"/>
            <a:ext cx="469843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pic>
        <p:nvPicPr>
          <p:cNvPr id="61" name="Immagine 60" descr="PI_logo_o_RGB_p.jpg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32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62" name="Rettangolo 61"/>
          <p:cNvSpPr/>
          <p:nvPr userDrawn="1"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3" name="Rettangolo 62"/>
          <p:cNvSpPr/>
          <p:nvPr userDrawn="1"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cxnSp>
        <p:nvCxnSpPr>
          <p:cNvPr id="64" name="Connettore diritto 63"/>
          <p:cNvCxnSpPr/>
          <p:nvPr userDrawn="1"/>
        </p:nvCxnSpPr>
        <p:spPr>
          <a:xfrm>
            <a:off x="8658417" y="74521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riangolo isoscele 64"/>
          <p:cNvSpPr/>
          <p:nvPr userDrawn="1"/>
        </p:nvSpPr>
        <p:spPr>
          <a:xfrm rot="10800000">
            <a:off x="227346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6" name="Triangolo isoscele 65"/>
          <p:cNvSpPr/>
          <p:nvPr userDrawn="1"/>
        </p:nvSpPr>
        <p:spPr>
          <a:xfrm rot="10800000">
            <a:off x="8817403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7" name="Triangolo isoscele 66"/>
          <p:cNvSpPr/>
          <p:nvPr userDrawn="1"/>
        </p:nvSpPr>
        <p:spPr>
          <a:xfrm>
            <a:off x="227346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8" name="Triangolo isoscele 67"/>
          <p:cNvSpPr/>
          <p:nvPr userDrawn="1"/>
        </p:nvSpPr>
        <p:spPr>
          <a:xfrm>
            <a:off x="8817403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69" name="Triangolo isoscele 68"/>
          <p:cNvSpPr/>
          <p:nvPr userDrawn="1"/>
        </p:nvSpPr>
        <p:spPr>
          <a:xfrm rot="5400000">
            <a:off x="-223572" y="918033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70" name="Triangolo isoscele 69"/>
          <p:cNvSpPr/>
          <p:nvPr userDrawn="1"/>
        </p:nvSpPr>
        <p:spPr>
          <a:xfrm rot="5400000">
            <a:off x="-223571" y="6015516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71" name="Triangolo isoscele 70"/>
          <p:cNvSpPr/>
          <p:nvPr userDrawn="1"/>
        </p:nvSpPr>
        <p:spPr>
          <a:xfrm rot="16200000">
            <a:off x="9231797" y="918033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  <p:sp>
        <p:nvSpPr>
          <p:cNvPr id="72" name="Triangolo isoscele 71"/>
          <p:cNvSpPr/>
          <p:nvPr userDrawn="1"/>
        </p:nvSpPr>
        <p:spPr>
          <a:xfrm rot="16200000">
            <a:off x="9231797" y="6015516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77034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  <p:sldLayoutId id="2147483850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rgbClr val="707173"/>
        </a:buClr>
        <a:buSzPct val="120000"/>
        <a:buFont typeface="Arial" panose="020B0604020202020204" pitchFamily="34" charset="0"/>
        <a:buChar char="•"/>
        <a:defRPr lang="it-IT" sz="15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4"/>
        </a:buClr>
        <a:buSzPct val="100000"/>
        <a:buFont typeface="Courier New" panose="02070309020205020404" pitchFamily="49" charset="0"/>
        <a:buChar char="o"/>
        <a:defRPr lang="it-IT" sz="135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4"/>
        </a:buClr>
        <a:buFont typeface="Arial" panose="020B0604020202020204" pitchFamily="34" charset="0"/>
        <a:buChar char="•"/>
        <a:defRPr lang="it-IT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4"/>
        </a:buClr>
        <a:buSzPct val="80000"/>
        <a:buFont typeface="Courier New" panose="02070309020205020404" pitchFamily="49" charset="0"/>
        <a:buChar char="o"/>
        <a:defRPr lang="it-IT" sz="105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707173"/>
        </a:buClr>
        <a:buSzPct val="60000"/>
        <a:buFont typeface="Arial" panose="020B0604020202020204" pitchFamily="34" charset="0"/>
        <a:buChar char="•"/>
        <a:defRPr lang="it-IT" sz="105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244" userDrawn="1">
          <p15:clr>
            <a:srgbClr val="9FCC3B"/>
          </p15:clr>
        </p15:guide>
        <p15:guide id="2" pos="2880" userDrawn="1">
          <p15:clr>
            <a:srgbClr val="F26B43"/>
          </p15:clr>
        </p15:guide>
        <p15:guide id="3" orient="horz" pos="3851" userDrawn="1">
          <p15:clr>
            <a:srgbClr val="9FCC3B"/>
          </p15:clr>
        </p15:guide>
        <p15:guide id="4" orient="horz" pos="640" userDrawn="1">
          <p15:clr>
            <a:srgbClr val="FBAE40"/>
          </p15:clr>
        </p15:guide>
        <p15:guide id="5" pos="176" userDrawn="1">
          <p15:clr>
            <a:srgbClr val="9FCC3B"/>
          </p15:clr>
        </p15:guide>
        <p15:guide id="6" pos="5585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emf"/><Relationship Id="rId3" Type="http://schemas.openxmlformats.org/officeDocument/2006/relationships/tags" Target="../tags/tag177.xml"/><Relationship Id="rId7" Type="http://schemas.openxmlformats.org/officeDocument/2006/relationships/image" Target="../media/image10.emf"/><Relationship Id="rId12" Type="http://schemas.openxmlformats.org/officeDocument/2006/relationships/image" Target="../media/image15.gif"/><Relationship Id="rId2" Type="http://schemas.openxmlformats.org/officeDocument/2006/relationships/tags" Target="../tags/tag176.xml"/><Relationship Id="rId1" Type="http://schemas.openxmlformats.org/officeDocument/2006/relationships/vmlDrawing" Target="../drawings/vmlDrawing64.vml"/><Relationship Id="rId6" Type="http://schemas.openxmlformats.org/officeDocument/2006/relationships/oleObject" Target="../embeddings/oleObject109.bin"/><Relationship Id="rId11" Type="http://schemas.openxmlformats.org/officeDocument/2006/relationships/image" Target="../media/image14.emf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18.jpeg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81.xml"/><Relationship Id="rId9" Type="http://schemas.openxmlformats.org/officeDocument/2006/relationships/image" Target="../media/image12.png"/><Relationship Id="rId14" Type="http://schemas.openxmlformats.org/officeDocument/2006/relationships/image" Target="../media/image17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emf"/><Relationship Id="rId3" Type="http://schemas.openxmlformats.org/officeDocument/2006/relationships/tags" Target="../tags/tag179.xml"/><Relationship Id="rId7" Type="http://schemas.openxmlformats.org/officeDocument/2006/relationships/image" Target="../media/image10.emf"/><Relationship Id="rId12" Type="http://schemas.openxmlformats.org/officeDocument/2006/relationships/image" Target="../media/image15.gif"/><Relationship Id="rId2" Type="http://schemas.openxmlformats.org/officeDocument/2006/relationships/tags" Target="../tags/tag178.xml"/><Relationship Id="rId1" Type="http://schemas.openxmlformats.org/officeDocument/2006/relationships/vmlDrawing" Target="../drawings/vmlDrawing65.vml"/><Relationship Id="rId6" Type="http://schemas.openxmlformats.org/officeDocument/2006/relationships/oleObject" Target="../embeddings/oleObject110.bin"/><Relationship Id="rId11" Type="http://schemas.openxmlformats.org/officeDocument/2006/relationships/image" Target="../media/image14.emf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18.jpeg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81.xml"/><Relationship Id="rId9" Type="http://schemas.openxmlformats.org/officeDocument/2006/relationships/image" Target="../media/image12.png"/><Relationship Id="rId14" Type="http://schemas.openxmlformats.org/officeDocument/2006/relationships/image" Target="../media/image1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Modello joint delivery</a:t>
            </a:r>
          </a:p>
        </p:txBody>
      </p:sp>
      <p:sp>
        <p:nvSpPr>
          <p:cNvPr id="6" name="Titolo 1"/>
          <p:cNvSpPr txBox="1">
            <a:spLocks/>
          </p:cNvSpPr>
          <p:nvPr/>
        </p:nvSpPr>
        <p:spPr>
          <a:xfrm>
            <a:off x="366733" y="2764125"/>
            <a:ext cx="7169663" cy="2382698"/>
          </a:xfrm>
        </p:spPr>
        <p:txBody>
          <a:bodyPr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it-IT" sz="1800" b="0" dirty="0" smtClean="0"/>
          </a:p>
          <a:p>
            <a:endParaRPr lang="it-IT" sz="1800" b="0" dirty="0"/>
          </a:p>
          <a:p>
            <a:endParaRPr lang="it-IT" sz="1800" b="0" dirty="0" smtClean="0"/>
          </a:p>
          <a:p>
            <a:endParaRPr lang="it-IT" sz="1800" b="0" dirty="0"/>
          </a:p>
          <a:p>
            <a:endParaRPr lang="it-IT" sz="1800" b="0" dirty="0" smtClean="0"/>
          </a:p>
          <a:p>
            <a:endParaRPr lang="it-IT" sz="1800" b="0" dirty="0"/>
          </a:p>
          <a:p>
            <a:r>
              <a:rPr lang="it-IT" sz="1800" b="0" dirty="0" smtClean="0"/>
              <a:t>Principali </a:t>
            </a:r>
            <a:r>
              <a:rPr lang="it-IT" sz="1800" b="0" dirty="0"/>
              <a:t>caratteristiche e modello di funzionamento ARTICOLAZIONE DI BASE E LINEA BUSINESS</a:t>
            </a:r>
          </a:p>
        </p:txBody>
      </p:sp>
      <p:sp>
        <p:nvSpPr>
          <p:cNvPr id="4" name="Sottotitolo 2"/>
          <p:cNvSpPr>
            <a:spLocks noGrp="1"/>
          </p:cNvSpPr>
          <p:nvPr>
            <p:ph type="subTitle" idx="1"/>
          </p:nvPr>
        </p:nvSpPr>
        <p:spPr>
          <a:xfrm>
            <a:off x="366732" y="3441320"/>
            <a:ext cx="7169663" cy="646331"/>
          </a:xfrm>
        </p:spPr>
        <p:txBody>
          <a:bodyPr/>
          <a:lstStyle/>
          <a:p>
            <a:r>
              <a:rPr lang="it-IT" dirty="0"/>
              <a:t>informativa</a:t>
            </a:r>
          </a:p>
        </p:txBody>
      </p:sp>
    </p:spTree>
    <p:extLst>
      <p:ext uri="{BB962C8B-B14F-4D97-AF65-F5344CB8AC3E}">
        <p14:creationId xmlns:p14="http://schemas.microsoft.com/office/powerpoint/2010/main" val="2563313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>
            <a:spLocks/>
          </p:cNvSpPr>
          <p:nvPr/>
        </p:nvSpPr>
        <p:spPr>
          <a:xfrm>
            <a:off x="332464" y="2577874"/>
            <a:ext cx="3743660" cy="76400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5597" tIns="65597" rIns="65597" bIns="65597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solidFill>
                  <a:schemeClr val="accent3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defRPr sz="1400" baseline="0">
                <a:solidFill>
                  <a:schemeClr val="accent3"/>
                </a:solidFill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accent3"/>
              </a:buClr>
              <a:buSzPct val="120000"/>
              <a:buFont typeface="Arial" charset="0"/>
              <a:buChar char="–"/>
              <a:defRPr sz="1400" baseline="0">
                <a:solidFill>
                  <a:schemeClr val="accent3"/>
                </a:solidFill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accent3"/>
              </a:buClr>
              <a:buSzPct val="120000"/>
              <a:buFont typeface="Arial" charset="0"/>
              <a:buChar char="▫"/>
              <a:defRPr sz="1400" baseline="0">
                <a:solidFill>
                  <a:schemeClr val="accent3"/>
                </a:solidFill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accent3"/>
              </a:buClr>
              <a:buSzPct val="89000"/>
              <a:buFont typeface="Arial" charset="0"/>
              <a:buChar char="-"/>
              <a:defRPr sz="1400" baseline="0">
                <a:solidFill>
                  <a:schemeClr val="accent3"/>
                </a:solidFill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25" b="1" dirty="0">
                <a:solidFill>
                  <a:schemeClr val="tx2"/>
                </a:solidFill>
              </a:rPr>
              <a:t>Articolazione di Base</a:t>
            </a:r>
          </a:p>
        </p:txBody>
      </p:sp>
      <p:sp>
        <p:nvSpPr>
          <p:cNvPr id="8" name="TextBox 7"/>
          <p:cNvSpPr txBox="1">
            <a:spLocks/>
          </p:cNvSpPr>
          <p:nvPr/>
        </p:nvSpPr>
        <p:spPr>
          <a:xfrm>
            <a:off x="332464" y="3764887"/>
            <a:ext cx="3743660" cy="7434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5597" tIns="65597" rIns="65597" bIns="65597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solidFill>
                  <a:schemeClr val="accent3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defRPr sz="1400" baseline="0">
                <a:solidFill>
                  <a:schemeClr val="accent3"/>
                </a:solidFill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accent3"/>
              </a:buClr>
              <a:buSzPct val="120000"/>
              <a:buFont typeface="Arial" charset="0"/>
              <a:buChar char="–"/>
              <a:defRPr sz="1400" baseline="0">
                <a:solidFill>
                  <a:schemeClr val="accent3"/>
                </a:solidFill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accent3"/>
              </a:buClr>
              <a:buSzPct val="120000"/>
              <a:buFont typeface="Arial" charset="0"/>
              <a:buChar char="▫"/>
              <a:defRPr sz="1400" baseline="0">
                <a:solidFill>
                  <a:schemeClr val="accent3"/>
                </a:solidFill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accent3"/>
              </a:buClr>
              <a:buSzPct val="89000"/>
              <a:buFont typeface="Arial" charset="0"/>
              <a:buChar char="-"/>
              <a:defRPr sz="1400" baseline="0">
                <a:solidFill>
                  <a:schemeClr val="accent3"/>
                </a:solidFill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25" b="1" dirty="0">
                <a:solidFill>
                  <a:schemeClr val="tx2"/>
                </a:solidFill>
              </a:rPr>
              <a:t>Articolazione Business</a:t>
            </a:r>
          </a:p>
        </p:txBody>
      </p:sp>
      <p:sp>
        <p:nvSpPr>
          <p:cNvPr id="49" name="TextBox 13"/>
          <p:cNvSpPr txBox="1">
            <a:spLocks/>
          </p:cNvSpPr>
          <p:nvPr/>
        </p:nvSpPr>
        <p:spPr>
          <a:xfrm>
            <a:off x="577783" y="1619814"/>
            <a:ext cx="7834698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it-IT"/>
            </a:defPPr>
            <a:lvl1pPr marL="285750" lvl="0" indent="-285750" defTabSz="895350">
              <a:lnSpc>
                <a:spcPct val="150000"/>
              </a:lnSpc>
              <a:buClr>
                <a:schemeClr val="tx2"/>
              </a:buClr>
              <a:buSzPct val="100000"/>
              <a:buFont typeface="Wingdings" panose="05000000000000000000" pitchFamily="2" charset="2"/>
              <a:buChar char="Ø"/>
              <a:defRPr baseline="0">
                <a:solidFill>
                  <a:schemeClr val="tx2"/>
                </a:solidFill>
              </a:defRPr>
            </a:lvl1pPr>
            <a:lvl2pPr marL="193675" lvl="1" indent="-192088" defTabSz="895350"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defRPr sz="1400" baseline="0">
                <a:solidFill>
                  <a:schemeClr val="accent3"/>
                </a:solidFill>
              </a:defRPr>
            </a:lvl2pPr>
            <a:lvl3pPr marL="457200" lvl="2" indent="-261938" defTabSz="895350">
              <a:buClr>
                <a:schemeClr val="accent3"/>
              </a:buClr>
              <a:buSzPct val="120000"/>
              <a:buFont typeface="Arial" charset="0"/>
              <a:buChar char="–"/>
              <a:defRPr sz="1400" baseline="0">
                <a:solidFill>
                  <a:schemeClr val="accent3"/>
                </a:solidFill>
              </a:defRPr>
            </a:lvl3pPr>
            <a:lvl4pPr marL="614363" lvl="3" indent="-155575" defTabSz="895350">
              <a:buClr>
                <a:schemeClr val="accent3"/>
              </a:buClr>
              <a:buSzPct val="120000"/>
              <a:buFont typeface="Arial" charset="0"/>
              <a:buChar char="▫"/>
              <a:defRPr sz="1400" baseline="0">
                <a:solidFill>
                  <a:schemeClr val="accent3"/>
                </a:solidFill>
              </a:defRPr>
            </a:lvl4pPr>
            <a:lvl5pPr marL="749808" lvl="4" indent="-130175" defTabSz="895350">
              <a:buClr>
                <a:schemeClr val="accent3"/>
              </a:buClr>
              <a:buSzPct val="89000"/>
              <a:buFont typeface="Arial" charset="0"/>
              <a:buChar char="-"/>
              <a:defRPr sz="1400" baseline="0">
                <a:solidFill>
                  <a:schemeClr val="accent3"/>
                </a:solidFill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1190" lvl="1" indent="0">
              <a:buNone/>
            </a:pPr>
            <a:r>
              <a:rPr lang="en-US" sz="1800" dirty="0">
                <a:solidFill>
                  <a:schemeClr val="tx2"/>
                </a:solidFill>
              </a:rPr>
              <a:t>Le </a:t>
            </a:r>
            <a:r>
              <a:rPr lang="en-US" sz="1800" dirty="0" err="1">
                <a:solidFill>
                  <a:schemeClr val="tx2"/>
                </a:solidFill>
              </a:rPr>
              <a:t>attività</a:t>
            </a:r>
            <a:r>
              <a:rPr lang="en-US" sz="1800" dirty="0">
                <a:solidFill>
                  <a:schemeClr val="tx2"/>
                </a:solidFill>
              </a:rPr>
              <a:t> di </a:t>
            </a:r>
            <a:r>
              <a:rPr lang="en-US" sz="1800" dirty="0" err="1">
                <a:solidFill>
                  <a:schemeClr val="tx2"/>
                </a:solidFill>
              </a:rPr>
              <a:t>recapito</a:t>
            </a:r>
            <a:r>
              <a:rPr lang="en-US" sz="1800" dirty="0">
                <a:solidFill>
                  <a:schemeClr val="tx2"/>
                </a:solidFill>
              </a:rPr>
              <a:t> di </a:t>
            </a:r>
            <a:r>
              <a:rPr lang="en-US" sz="1800" dirty="0" err="1">
                <a:solidFill>
                  <a:schemeClr val="tx2"/>
                </a:solidFill>
              </a:rPr>
              <a:t>posta</a:t>
            </a:r>
            <a:r>
              <a:rPr lang="en-US" sz="1800" dirty="0">
                <a:solidFill>
                  <a:schemeClr val="tx2"/>
                </a:solidFill>
              </a:rPr>
              <a:t> e </a:t>
            </a:r>
            <a:r>
              <a:rPr lang="en-US" sz="1800" dirty="0" err="1">
                <a:solidFill>
                  <a:schemeClr val="tx2"/>
                </a:solidFill>
              </a:rPr>
              <a:t>pacchi</a:t>
            </a:r>
            <a:r>
              <a:rPr lang="en-US" sz="1800" dirty="0">
                <a:solidFill>
                  <a:schemeClr val="tx2"/>
                </a:solidFill>
              </a:rPr>
              <a:t> </a:t>
            </a:r>
            <a:r>
              <a:rPr lang="en-US" sz="1800" dirty="0" err="1">
                <a:solidFill>
                  <a:schemeClr val="tx2"/>
                </a:solidFill>
              </a:rPr>
              <a:t>verranno</a:t>
            </a:r>
            <a:r>
              <a:rPr lang="en-US" sz="1800" dirty="0">
                <a:solidFill>
                  <a:schemeClr val="tx2"/>
                </a:solidFill>
              </a:rPr>
              <a:t> </a:t>
            </a:r>
            <a:r>
              <a:rPr lang="en-US" sz="1800" dirty="0" err="1">
                <a:solidFill>
                  <a:schemeClr val="tx2"/>
                </a:solidFill>
              </a:rPr>
              <a:t>effettuate</a:t>
            </a:r>
            <a:r>
              <a:rPr lang="en-US" sz="1800" dirty="0">
                <a:solidFill>
                  <a:schemeClr val="tx2"/>
                </a:solidFill>
              </a:rPr>
              <a:t> </a:t>
            </a:r>
            <a:r>
              <a:rPr lang="en-US" sz="1800" dirty="0" err="1">
                <a:solidFill>
                  <a:schemeClr val="tx2"/>
                </a:solidFill>
              </a:rPr>
              <a:t>attraverso</a:t>
            </a:r>
            <a:r>
              <a:rPr lang="en-US" sz="1800" dirty="0">
                <a:solidFill>
                  <a:schemeClr val="tx2"/>
                </a:solidFill>
              </a:rPr>
              <a:t> </a:t>
            </a:r>
            <a:r>
              <a:rPr lang="en-US" sz="1800" dirty="0" err="1">
                <a:solidFill>
                  <a:schemeClr val="tx2"/>
                </a:solidFill>
              </a:rPr>
              <a:t>l’impiego</a:t>
            </a:r>
            <a:r>
              <a:rPr lang="en-US" sz="1800" dirty="0">
                <a:solidFill>
                  <a:schemeClr val="tx2"/>
                </a:solidFill>
              </a:rPr>
              <a:t> di due </a:t>
            </a:r>
            <a:r>
              <a:rPr lang="en-US" sz="1800" dirty="0" err="1">
                <a:solidFill>
                  <a:schemeClr val="tx2"/>
                </a:solidFill>
              </a:rPr>
              <a:t>principali</a:t>
            </a:r>
            <a:r>
              <a:rPr lang="en-US" sz="1800" dirty="0">
                <a:solidFill>
                  <a:schemeClr val="tx2"/>
                </a:solidFill>
              </a:rPr>
              <a:t> </a:t>
            </a:r>
            <a:r>
              <a:rPr lang="en-US" sz="1800" dirty="0" err="1">
                <a:solidFill>
                  <a:schemeClr val="tx2"/>
                </a:solidFill>
              </a:rPr>
              <a:t>articolazioni</a:t>
            </a:r>
            <a:r>
              <a:rPr lang="en-US" sz="1800" dirty="0">
                <a:solidFill>
                  <a:schemeClr val="tx2"/>
                </a:solidFill>
              </a:rPr>
              <a:t>:</a:t>
            </a:r>
          </a:p>
          <a:p>
            <a:pPr marL="1190" lvl="1" indent="0">
              <a:buNone/>
            </a:pPr>
            <a:endParaRPr lang="en-US" sz="1800" dirty="0">
              <a:solidFill>
                <a:schemeClr val="tx2"/>
              </a:solidFill>
            </a:endParaRPr>
          </a:p>
        </p:txBody>
      </p:sp>
      <p:sp>
        <p:nvSpPr>
          <p:cNvPr id="22" name="Titolo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rticolazioni di recapito</a:t>
            </a:r>
          </a:p>
        </p:txBody>
      </p:sp>
      <p:sp>
        <p:nvSpPr>
          <p:cNvPr id="2" name="Freccia a destra 1"/>
          <p:cNvSpPr/>
          <p:nvPr/>
        </p:nvSpPr>
        <p:spPr>
          <a:xfrm>
            <a:off x="4141994" y="2577874"/>
            <a:ext cx="481083" cy="764004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1"/>
          </a:solidFill>
          <a:ln>
            <a:noFill/>
          </a:ln>
        </p:spPr>
        <p:txBody>
          <a:bodyPr vert="horz" wrap="square" lIns="65597" tIns="65597" rIns="65597" bIns="65597" rtlCol="0" anchor="ctr" anchorCtr="0">
            <a:noAutofit/>
          </a:bodyPr>
          <a:lstStyle/>
          <a:p>
            <a:pPr algn="ctr" defTabSz="671513">
              <a:buClr>
                <a:schemeClr val="tx2"/>
              </a:buClr>
              <a:buSzPct val="100000"/>
            </a:pPr>
            <a:endParaRPr lang="it-IT" sz="1425" b="1">
              <a:solidFill>
                <a:schemeClr val="tx2"/>
              </a:solidFill>
            </a:endParaRPr>
          </a:p>
        </p:txBody>
      </p:sp>
      <p:sp>
        <p:nvSpPr>
          <p:cNvPr id="19" name="TextBox 13"/>
          <p:cNvSpPr txBox="1">
            <a:spLocks/>
          </p:cNvSpPr>
          <p:nvPr/>
        </p:nvSpPr>
        <p:spPr>
          <a:xfrm>
            <a:off x="4872985" y="2686978"/>
            <a:ext cx="2746578" cy="62324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solidFill>
                  <a:schemeClr val="accent3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defRPr sz="1400" baseline="0">
                <a:solidFill>
                  <a:schemeClr val="accent3"/>
                </a:solidFill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accent3"/>
              </a:buClr>
              <a:buSzPct val="120000"/>
              <a:buFont typeface="Arial" charset="0"/>
              <a:buChar char="–"/>
              <a:defRPr sz="1400" baseline="0">
                <a:solidFill>
                  <a:schemeClr val="accent3"/>
                </a:solidFill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accent3"/>
              </a:buClr>
              <a:buSzPct val="120000"/>
              <a:buFont typeface="Arial" charset="0"/>
              <a:buChar char="▫"/>
              <a:defRPr sz="1400" baseline="0">
                <a:solidFill>
                  <a:schemeClr val="accent3"/>
                </a:solidFill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accent3"/>
              </a:buClr>
              <a:buSzPct val="89000"/>
              <a:buFont typeface="Arial" charset="0"/>
              <a:buChar char="-"/>
              <a:defRPr sz="1400" baseline="0">
                <a:solidFill>
                  <a:schemeClr val="accent3"/>
                </a:solidFill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ct val="150000"/>
              </a:lnSpc>
            </a:pPr>
            <a:r>
              <a:rPr lang="it-IT" sz="1350" b="1" dirty="0">
                <a:solidFill>
                  <a:schemeClr val="tx2"/>
                </a:solidFill>
              </a:rPr>
              <a:t>Stabile nel tempo e con carico di lavoro costante  </a:t>
            </a:r>
          </a:p>
        </p:txBody>
      </p:sp>
      <p:cxnSp>
        <p:nvCxnSpPr>
          <p:cNvPr id="20" name="Straight Connector 24"/>
          <p:cNvCxnSpPr>
            <a:cxnSpLocks/>
          </p:cNvCxnSpPr>
          <p:nvPr/>
        </p:nvCxnSpPr>
        <p:spPr>
          <a:xfrm>
            <a:off x="4780085" y="2558438"/>
            <a:ext cx="3743660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5"/>
          <p:cNvCxnSpPr>
            <a:cxnSpLocks/>
          </p:cNvCxnSpPr>
          <p:nvPr/>
        </p:nvCxnSpPr>
        <p:spPr>
          <a:xfrm>
            <a:off x="4780086" y="3405621"/>
            <a:ext cx="3803219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13"/>
          <p:cNvSpPr txBox="1">
            <a:spLocks/>
          </p:cNvSpPr>
          <p:nvPr/>
        </p:nvSpPr>
        <p:spPr>
          <a:xfrm>
            <a:off x="4872985" y="3980812"/>
            <a:ext cx="3743660" cy="3116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solidFill>
                  <a:schemeClr val="accent3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defRPr sz="1400" baseline="0">
                <a:solidFill>
                  <a:schemeClr val="accent3"/>
                </a:solidFill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accent3"/>
              </a:buClr>
              <a:buSzPct val="120000"/>
              <a:buFont typeface="Arial" charset="0"/>
              <a:buChar char="–"/>
              <a:defRPr sz="1400" baseline="0">
                <a:solidFill>
                  <a:schemeClr val="accent3"/>
                </a:solidFill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accent3"/>
              </a:buClr>
              <a:buSzPct val="120000"/>
              <a:buFont typeface="Arial" charset="0"/>
              <a:buChar char="▫"/>
              <a:defRPr sz="1400" baseline="0">
                <a:solidFill>
                  <a:schemeClr val="accent3"/>
                </a:solidFill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accent3"/>
              </a:buClr>
              <a:buSzPct val="89000"/>
              <a:buFont typeface="Arial" charset="0"/>
              <a:buChar char="-"/>
              <a:defRPr sz="1400" baseline="0">
                <a:solidFill>
                  <a:schemeClr val="accent3"/>
                </a:solidFill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ct val="150000"/>
              </a:lnSpc>
            </a:pPr>
            <a:r>
              <a:rPr lang="it-IT" sz="1350" b="1" dirty="0">
                <a:solidFill>
                  <a:schemeClr val="tx2"/>
                </a:solidFill>
              </a:rPr>
              <a:t>Reattiva e flessibile</a:t>
            </a:r>
            <a:endParaRPr lang="it-IT" sz="1350" dirty="0">
              <a:solidFill>
                <a:schemeClr val="tx2"/>
              </a:solidFill>
            </a:endParaRPr>
          </a:p>
        </p:txBody>
      </p:sp>
      <p:cxnSp>
        <p:nvCxnSpPr>
          <p:cNvPr id="27" name="Straight Connector 24"/>
          <p:cNvCxnSpPr>
            <a:cxnSpLocks/>
          </p:cNvCxnSpPr>
          <p:nvPr/>
        </p:nvCxnSpPr>
        <p:spPr>
          <a:xfrm>
            <a:off x="4843205" y="3686102"/>
            <a:ext cx="3743660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5"/>
          <p:cNvCxnSpPr>
            <a:cxnSpLocks/>
          </p:cNvCxnSpPr>
          <p:nvPr/>
        </p:nvCxnSpPr>
        <p:spPr>
          <a:xfrm>
            <a:off x="4843206" y="4533285"/>
            <a:ext cx="3803219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reccia a destra 28"/>
          <p:cNvSpPr/>
          <p:nvPr/>
        </p:nvSpPr>
        <p:spPr>
          <a:xfrm>
            <a:off x="4141994" y="3754622"/>
            <a:ext cx="481083" cy="764004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1"/>
          </a:solidFill>
          <a:ln>
            <a:noFill/>
          </a:ln>
        </p:spPr>
        <p:txBody>
          <a:bodyPr vert="horz" wrap="square" lIns="65597" tIns="65597" rIns="65597" bIns="65597" rtlCol="0" anchor="ctr" anchorCtr="0">
            <a:noAutofit/>
          </a:bodyPr>
          <a:lstStyle/>
          <a:p>
            <a:pPr algn="ctr" defTabSz="671513">
              <a:buClr>
                <a:schemeClr val="tx2"/>
              </a:buClr>
              <a:buSzPct val="100000"/>
            </a:pPr>
            <a:endParaRPr lang="it-IT" sz="1425" b="1">
              <a:solidFill>
                <a:schemeClr val="tx2"/>
              </a:solidFill>
            </a:endParaRPr>
          </a:p>
        </p:txBody>
      </p:sp>
      <p:sp>
        <p:nvSpPr>
          <p:cNvPr id="4" name="Segnaposto testo 3">
            <a:extLst>
              <a:ext uri="{FF2B5EF4-FFF2-40B4-BE49-F238E27FC236}">
                <a16:creationId xmlns="" xmlns:a16="http://schemas.microsoft.com/office/drawing/2014/main" id="{38FF8327-1BC1-49DB-9EEC-25FCD97DF89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12774" y="345596"/>
            <a:ext cx="8563940" cy="385763"/>
          </a:xfrm>
        </p:spPr>
        <p:txBody>
          <a:bodyPr/>
          <a:lstStyle/>
          <a:p>
            <a:r>
              <a:rPr lang="it-IT" dirty="0"/>
              <a:t>Premessa</a:t>
            </a:r>
          </a:p>
        </p:txBody>
      </p:sp>
    </p:spTree>
    <p:extLst>
      <p:ext uri="{BB962C8B-B14F-4D97-AF65-F5344CB8AC3E}">
        <p14:creationId xmlns:p14="http://schemas.microsoft.com/office/powerpoint/2010/main" val="198627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ounded Rectangle 132"/>
          <p:cNvSpPr>
            <a:spLocks noChangeArrowheads="1"/>
          </p:cNvSpPr>
          <p:nvPr/>
        </p:nvSpPr>
        <p:spPr bwMode="auto">
          <a:xfrm>
            <a:off x="3712103" y="2784813"/>
            <a:ext cx="1602318" cy="1585937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0" tIns="68579" rIns="0" bIns="68579" anchor="ctr"/>
          <a:lstStyle/>
          <a:p>
            <a:pPr algn="ctr" defTabSz="666750"/>
            <a:r>
              <a:rPr lang="it-IT" sz="1350" b="1" dirty="0">
                <a:solidFill>
                  <a:srgbClr val="FFFFFF"/>
                </a:solidFill>
              </a:rPr>
              <a:t>Fasce orarie di consegna</a:t>
            </a:r>
            <a:endParaRPr lang="en-US" sz="1350" b="1" dirty="0">
              <a:solidFill>
                <a:srgbClr val="FFFFFF"/>
              </a:solidFill>
            </a:endParaRPr>
          </a:p>
        </p:txBody>
      </p:sp>
      <p:sp>
        <p:nvSpPr>
          <p:cNvPr id="46" name="Rounded Rectangle 132"/>
          <p:cNvSpPr>
            <a:spLocks noChangeArrowheads="1"/>
          </p:cNvSpPr>
          <p:nvPr/>
        </p:nvSpPr>
        <p:spPr bwMode="auto">
          <a:xfrm>
            <a:off x="3728375" y="1821723"/>
            <a:ext cx="1584408" cy="924111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0" tIns="68579" rIns="0" bIns="68579" anchor="ctr"/>
          <a:lstStyle/>
          <a:p>
            <a:pPr algn="ctr" defTabSz="666750"/>
            <a:r>
              <a:rPr lang="it-IT" sz="1350" b="1" dirty="0">
                <a:solidFill>
                  <a:srgbClr val="FFFFFF"/>
                </a:solidFill>
              </a:rPr>
              <a:t>Area di Recapito</a:t>
            </a:r>
            <a:endParaRPr lang="en-US" sz="1350" b="1" dirty="0">
              <a:solidFill>
                <a:srgbClr val="FFFFFF"/>
              </a:solidFill>
            </a:endParaRPr>
          </a:p>
        </p:txBody>
      </p:sp>
      <p:sp>
        <p:nvSpPr>
          <p:cNvPr id="23" name="Titolo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rticolazioni di recapito</a:t>
            </a:r>
          </a:p>
        </p:txBody>
      </p:sp>
      <p:sp>
        <p:nvSpPr>
          <p:cNvPr id="2" name="Segnaposto testo 1">
            <a:extLst>
              <a:ext uri="{FF2B5EF4-FFF2-40B4-BE49-F238E27FC236}">
                <a16:creationId xmlns="" xmlns:a16="http://schemas.microsoft.com/office/drawing/2014/main" id="{1CDC9AFC-7B82-47FD-A702-CF19FBA1E4B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1452" y="317460"/>
            <a:ext cx="8563940" cy="385763"/>
          </a:xfrm>
        </p:spPr>
        <p:txBody>
          <a:bodyPr/>
          <a:lstStyle/>
          <a:p>
            <a:r>
              <a:rPr lang="it-IT" sz="1400" dirty="0"/>
              <a:t>Caratteristiche generali</a:t>
            </a:r>
          </a:p>
        </p:txBody>
      </p:sp>
      <p:sp>
        <p:nvSpPr>
          <p:cNvPr id="26" name="TextBox 6"/>
          <p:cNvSpPr txBox="1">
            <a:spLocks/>
          </p:cNvSpPr>
          <p:nvPr/>
        </p:nvSpPr>
        <p:spPr>
          <a:xfrm>
            <a:off x="517970" y="985187"/>
            <a:ext cx="2970000" cy="76400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5597" tIns="65597" rIns="65597" bIns="65597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solidFill>
                  <a:schemeClr val="accent3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defRPr sz="1400" baseline="0">
                <a:solidFill>
                  <a:schemeClr val="accent3"/>
                </a:solidFill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accent3"/>
              </a:buClr>
              <a:buSzPct val="120000"/>
              <a:buFont typeface="Arial" charset="0"/>
              <a:buChar char="–"/>
              <a:defRPr sz="1400" baseline="0">
                <a:solidFill>
                  <a:schemeClr val="accent3"/>
                </a:solidFill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accent3"/>
              </a:buClr>
              <a:buSzPct val="120000"/>
              <a:buFont typeface="Arial" charset="0"/>
              <a:buChar char="▫"/>
              <a:defRPr sz="1400" baseline="0">
                <a:solidFill>
                  <a:schemeClr val="accent3"/>
                </a:solidFill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accent3"/>
              </a:buClr>
              <a:buSzPct val="89000"/>
              <a:buFont typeface="Arial" charset="0"/>
              <a:buChar char="-"/>
              <a:defRPr sz="1400" baseline="0">
                <a:solidFill>
                  <a:schemeClr val="accent3"/>
                </a:solidFill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25" b="1" dirty="0">
                <a:solidFill>
                  <a:schemeClr val="tx2"/>
                </a:solidFill>
              </a:rPr>
              <a:t>Articolazione di Base</a:t>
            </a:r>
          </a:p>
        </p:txBody>
      </p:sp>
      <p:sp>
        <p:nvSpPr>
          <p:cNvPr id="27" name="TextBox 7"/>
          <p:cNvSpPr txBox="1">
            <a:spLocks/>
          </p:cNvSpPr>
          <p:nvPr/>
        </p:nvSpPr>
        <p:spPr>
          <a:xfrm>
            <a:off x="5439272" y="1005717"/>
            <a:ext cx="2970000" cy="7434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5597" tIns="65597" rIns="65597" bIns="65597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solidFill>
                  <a:schemeClr val="accent3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defRPr sz="1400" baseline="0">
                <a:solidFill>
                  <a:schemeClr val="accent3"/>
                </a:solidFill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accent3"/>
              </a:buClr>
              <a:buSzPct val="120000"/>
              <a:buFont typeface="Arial" charset="0"/>
              <a:buChar char="–"/>
              <a:defRPr sz="1400" baseline="0">
                <a:solidFill>
                  <a:schemeClr val="accent3"/>
                </a:solidFill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accent3"/>
              </a:buClr>
              <a:buSzPct val="120000"/>
              <a:buFont typeface="Arial" charset="0"/>
              <a:buChar char="▫"/>
              <a:defRPr sz="1400" baseline="0">
                <a:solidFill>
                  <a:schemeClr val="accent3"/>
                </a:solidFill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accent3"/>
              </a:buClr>
              <a:buSzPct val="89000"/>
              <a:buFont typeface="Arial" charset="0"/>
              <a:buChar char="-"/>
              <a:defRPr sz="1400" baseline="0">
                <a:solidFill>
                  <a:schemeClr val="accent3"/>
                </a:solidFill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25" b="1" dirty="0">
                <a:solidFill>
                  <a:schemeClr val="tx2"/>
                </a:solidFill>
              </a:rPr>
              <a:t> Articolazione Linea Business</a:t>
            </a:r>
          </a:p>
        </p:txBody>
      </p:sp>
      <p:sp>
        <p:nvSpPr>
          <p:cNvPr id="28" name="TextBox 13"/>
          <p:cNvSpPr txBox="1">
            <a:spLocks/>
          </p:cNvSpPr>
          <p:nvPr/>
        </p:nvSpPr>
        <p:spPr>
          <a:xfrm>
            <a:off x="376455" y="2222598"/>
            <a:ext cx="2970000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solidFill>
                  <a:schemeClr val="accent3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defRPr sz="1400" baseline="0">
                <a:solidFill>
                  <a:schemeClr val="accent3"/>
                </a:solidFill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accent3"/>
              </a:buClr>
              <a:buSzPct val="120000"/>
              <a:buFont typeface="Arial" charset="0"/>
              <a:buChar char="–"/>
              <a:defRPr sz="1400" baseline="0">
                <a:solidFill>
                  <a:schemeClr val="accent3"/>
                </a:solidFill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accent3"/>
              </a:buClr>
              <a:buSzPct val="120000"/>
              <a:buFont typeface="Arial" charset="0"/>
              <a:buChar char="▫"/>
              <a:defRPr sz="1400" baseline="0">
                <a:solidFill>
                  <a:schemeClr val="accent3"/>
                </a:solidFill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accent3"/>
              </a:buClr>
              <a:buSzPct val="89000"/>
              <a:buFont typeface="Arial" charset="0"/>
              <a:buChar char="-"/>
              <a:defRPr sz="1400" baseline="0">
                <a:solidFill>
                  <a:schemeClr val="accent3"/>
                </a:solidFill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342900" lvl="1" indent="0" algn="ctr" defTabSz="685800">
              <a:buClrTx/>
              <a:buSzTx/>
              <a:buNone/>
            </a:pPr>
            <a:r>
              <a:rPr lang="it-IT" sz="1350" dirty="0">
                <a:solidFill>
                  <a:schemeClr val="tx2"/>
                </a:solidFill>
              </a:rPr>
              <a:t>Zona</a:t>
            </a:r>
            <a:r>
              <a:rPr lang="it-IT" sz="1050" dirty="0">
                <a:solidFill>
                  <a:schemeClr val="tx2"/>
                </a:solidFill>
              </a:rPr>
              <a:t> </a:t>
            </a:r>
            <a:r>
              <a:rPr lang="it-IT" sz="1350" dirty="0">
                <a:solidFill>
                  <a:schemeClr val="tx2"/>
                </a:solidFill>
              </a:rPr>
              <a:t>fissa </a:t>
            </a:r>
            <a:endParaRPr lang="it-IT" sz="1200" dirty="0">
              <a:solidFill>
                <a:schemeClr val="tx2"/>
              </a:solidFill>
            </a:endParaRPr>
          </a:p>
        </p:txBody>
      </p:sp>
      <p:sp>
        <p:nvSpPr>
          <p:cNvPr id="31" name="TextBox 13"/>
          <p:cNvSpPr txBox="1">
            <a:spLocks/>
          </p:cNvSpPr>
          <p:nvPr/>
        </p:nvSpPr>
        <p:spPr>
          <a:xfrm>
            <a:off x="376455" y="3236309"/>
            <a:ext cx="2970000" cy="62324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solidFill>
                  <a:schemeClr val="accent3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defRPr sz="1400" baseline="0">
                <a:solidFill>
                  <a:schemeClr val="accent3"/>
                </a:solidFill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accent3"/>
              </a:buClr>
              <a:buSzPct val="120000"/>
              <a:buFont typeface="Arial" charset="0"/>
              <a:buChar char="–"/>
              <a:defRPr sz="1400" baseline="0">
                <a:solidFill>
                  <a:schemeClr val="accent3"/>
                </a:solidFill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accent3"/>
              </a:buClr>
              <a:buSzPct val="120000"/>
              <a:buFont typeface="Arial" charset="0"/>
              <a:buChar char="▫"/>
              <a:defRPr sz="1400" baseline="0">
                <a:solidFill>
                  <a:schemeClr val="accent3"/>
                </a:solidFill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accent3"/>
              </a:buClr>
              <a:buSzPct val="89000"/>
              <a:buFont typeface="Arial" charset="0"/>
              <a:buChar char="-"/>
              <a:defRPr sz="1400" baseline="0">
                <a:solidFill>
                  <a:schemeClr val="accent3"/>
                </a:solidFill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342900" lvl="1" indent="0" algn="ctr" defTabSz="685800">
              <a:buClrTx/>
              <a:buSzTx/>
              <a:buNone/>
            </a:pPr>
            <a:r>
              <a:rPr lang="it-IT" sz="1350" dirty="0">
                <a:solidFill>
                  <a:srgbClr val="0047BB"/>
                </a:solidFill>
              </a:rPr>
              <a:t>Mattutina</a:t>
            </a:r>
          </a:p>
          <a:p>
            <a:pPr marL="342900" lvl="1" indent="0" algn="ctr" defTabSz="685800">
              <a:buClrTx/>
              <a:buSzTx/>
              <a:buNone/>
            </a:pPr>
            <a:r>
              <a:rPr lang="it-IT" sz="1350" dirty="0">
                <a:solidFill>
                  <a:srgbClr val="0047BB"/>
                </a:solidFill>
              </a:rPr>
              <a:t/>
            </a:r>
            <a:br>
              <a:rPr lang="it-IT" sz="1350" dirty="0">
                <a:solidFill>
                  <a:srgbClr val="0047BB"/>
                </a:solidFill>
              </a:rPr>
            </a:br>
            <a:r>
              <a:rPr lang="it-IT" sz="1350" dirty="0">
                <a:solidFill>
                  <a:srgbClr val="0047BB"/>
                </a:solidFill>
              </a:rPr>
              <a:t>Lunedì-Venerdì</a:t>
            </a:r>
            <a:endParaRPr lang="en-US" sz="1350" dirty="0">
              <a:solidFill>
                <a:srgbClr val="0047BB"/>
              </a:solidFill>
            </a:endParaRPr>
          </a:p>
        </p:txBody>
      </p:sp>
      <p:cxnSp>
        <p:nvCxnSpPr>
          <p:cNvPr id="29" name="Straight Connector 24"/>
          <p:cNvCxnSpPr>
            <a:cxnSpLocks/>
          </p:cNvCxnSpPr>
          <p:nvPr/>
        </p:nvCxnSpPr>
        <p:spPr>
          <a:xfrm>
            <a:off x="517970" y="1821722"/>
            <a:ext cx="2923489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5"/>
          <p:cNvCxnSpPr>
            <a:cxnSpLocks/>
          </p:cNvCxnSpPr>
          <p:nvPr/>
        </p:nvCxnSpPr>
        <p:spPr>
          <a:xfrm>
            <a:off x="517970" y="2745834"/>
            <a:ext cx="2970000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13"/>
          <p:cNvSpPr txBox="1">
            <a:spLocks/>
          </p:cNvSpPr>
          <p:nvPr/>
        </p:nvSpPr>
        <p:spPr>
          <a:xfrm>
            <a:off x="5524832" y="1953157"/>
            <a:ext cx="2970000" cy="6001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it-IT"/>
            </a:defPPr>
            <a:lvl1pPr lvl="0" indent="0" defTabSz="895350">
              <a:buClr>
                <a:schemeClr val="tx2"/>
              </a:buClr>
              <a:buSzPct val="100000"/>
              <a:defRPr sz="1400" baseline="0">
                <a:solidFill>
                  <a:schemeClr val="accent3"/>
                </a:solidFill>
              </a:defRPr>
            </a:lvl1pPr>
            <a:lvl2pPr marL="1587" lvl="1" indent="0" defTabSz="895350">
              <a:buClr>
                <a:schemeClr val="accent3"/>
              </a:buClr>
              <a:buSzPct val="125000"/>
              <a:buFont typeface="Arial" panose="020B0604020202020204" pitchFamily="34" charset="0"/>
              <a:buNone/>
              <a:defRPr baseline="0">
                <a:solidFill>
                  <a:schemeClr val="tx2"/>
                </a:solidFill>
              </a:defRPr>
            </a:lvl2pPr>
            <a:lvl3pPr marL="457200" lvl="2" indent="-261938" defTabSz="895350">
              <a:buClr>
                <a:schemeClr val="accent3"/>
              </a:buClr>
              <a:buSzPct val="120000"/>
              <a:buFont typeface="Arial" charset="0"/>
              <a:buChar char="–"/>
              <a:defRPr sz="1400" baseline="0">
                <a:solidFill>
                  <a:schemeClr val="accent3"/>
                </a:solidFill>
              </a:defRPr>
            </a:lvl3pPr>
            <a:lvl4pPr marL="614363" lvl="3" indent="-155575" defTabSz="895350">
              <a:buClr>
                <a:schemeClr val="accent3"/>
              </a:buClr>
              <a:buSzPct val="120000"/>
              <a:buFont typeface="Arial" charset="0"/>
              <a:buChar char="▫"/>
              <a:defRPr sz="1400" baseline="0">
                <a:solidFill>
                  <a:schemeClr val="accent3"/>
                </a:solidFill>
              </a:defRPr>
            </a:lvl4pPr>
            <a:lvl5pPr marL="749808" lvl="4" indent="-130175" defTabSz="895350">
              <a:buClr>
                <a:schemeClr val="accent3"/>
              </a:buClr>
              <a:buSzPct val="89000"/>
              <a:buFont typeface="Arial" charset="0"/>
              <a:buChar char="-"/>
              <a:defRPr sz="1400" baseline="0">
                <a:solidFill>
                  <a:schemeClr val="accent3"/>
                </a:solidFill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lvl="1" algn="ctr"/>
            <a:r>
              <a:rPr lang="it-IT" sz="1350" dirty="0"/>
              <a:t>Variabile</a:t>
            </a:r>
          </a:p>
          <a:p>
            <a:pPr lvl="1" algn="ctr"/>
            <a:r>
              <a:rPr lang="it-IT" sz="1350" dirty="0"/>
              <a:t>  </a:t>
            </a:r>
            <a:r>
              <a:rPr lang="it-IT" sz="1200" dirty="0"/>
              <a:t>(le linee business operano in gruppo con area prevalente di recapito)</a:t>
            </a:r>
          </a:p>
        </p:txBody>
      </p:sp>
      <p:sp>
        <p:nvSpPr>
          <p:cNvPr id="36" name="TextBox 13"/>
          <p:cNvSpPr txBox="1">
            <a:spLocks/>
          </p:cNvSpPr>
          <p:nvPr/>
        </p:nvSpPr>
        <p:spPr>
          <a:xfrm>
            <a:off x="5615248" y="2789115"/>
            <a:ext cx="2796624" cy="161582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solidFill>
                  <a:schemeClr val="accent3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defRPr sz="1400" baseline="0">
                <a:solidFill>
                  <a:schemeClr val="accent3"/>
                </a:solidFill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accent3"/>
              </a:buClr>
              <a:buSzPct val="120000"/>
              <a:buFont typeface="Arial" charset="0"/>
              <a:buChar char="–"/>
              <a:defRPr sz="1400" baseline="0">
                <a:solidFill>
                  <a:schemeClr val="accent3"/>
                </a:solidFill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accent3"/>
              </a:buClr>
              <a:buSzPct val="120000"/>
              <a:buFont typeface="Arial" charset="0"/>
              <a:buChar char="▫"/>
              <a:defRPr sz="1400" baseline="0">
                <a:solidFill>
                  <a:schemeClr val="accent3"/>
                </a:solidFill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accent3"/>
              </a:buClr>
              <a:buSzPct val="89000"/>
              <a:buFont typeface="Arial" charset="0"/>
              <a:buChar char="-"/>
              <a:defRPr sz="1400" baseline="0">
                <a:solidFill>
                  <a:schemeClr val="accent3"/>
                </a:solidFill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 algn="ctr" defTabSz="685800">
              <a:buClrTx/>
              <a:buSzTx/>
              <a:buNone/>
            </a:pPr>
            <a:r>
              <a:rPr lang="it-IT" sz="1350" dirty="0">
                <a:solidFill>
                  <a:srgbClr val="0047BB"/>
                </a:solidFill>
              </a:rPr>
              <a:t>Mattutina</a:t>
            </a:r>
          </a:p>
          <a:p>
            <a:pPr marL="0" lvl="1" indent="0" algn="ctr" defTabSz="685800">
              <a:buClrTx/>
              <a:buSzTx/>
              <a:buNone/>
            </a:pPr>
            <a:r>
              <a:rPr lang="it-IT" sz="1350" dirty="0">
                <a:solidFill>
                  <a:srgbClr val="0047BB"/>
                </a:solidFill>
              </a:rPr>
              <a:t> </a:t>
            </a:r>
            <a:r>
              <a:rPr lang="it-IT" sz="900" dirty="0">
                <a:solidFill>
                  <a:srgbClr val="0047BB"/>
                </a:solidFill>
              </a:rPr>
              <a:t>(con orario di ingresso posticipato rispetto a quello della linea di base)</a:t>
            </a:r>
            <a:endParaRPr lang="it-IT" sz="1200" dirty="0">
              <a:solidFill>
                <a:srgbClr val="0047BB"/>
              </a:solidFill>
            </a:endParaRPr>
          </a:p>
          <a:p>
            <a:pPr marL="0" lvl="1" indent="0" algn="ctr" defTabSz="685800">
              <a:buClrTx/>
              <a:buSzTx/>
              <a:buNone/>
            </a:pPr>
            <a:r>
              <a:rPr lang="it-IT" sz="1350" dirty="0">
                <a:solidFill>
                  <a:srgbClr val="0047BB"/>
                </a:solidFill>
              </a:rPr>
              <a:t> e pomeridiana</a:t>
            </a:r>
          </a:p>
          <a:p>
            <a:pPr marL="342900" lvl="1" indent="0" algn="ctr" defTabSz="685800">
              <a:buClrTx/>
              <a:buSzTx/>
              <a:buNone/>
            </a:pPr>
            <a:endParaRPr lang="it-IT" sz="1350" dirty="0">
              <a:solidFill>
                <a:srgbClr val="0047BB"/>
              </a:solidFill>
            </a:endParaRPr>
          </a:p>
          <a:p>
            <a:pPr marL="342900" lvl="1" indent="0" algn="ctr" defTabSz="685800">
              <a:buClrTx/>
              <a:buSzTx/>
              <a:buNone/>
            </a:pPr>
            <a:r>
              <a:rPr lang="it-IT" sz="1350" dirty="0">
                <a:solidFill>
                  <a:srgbClr val="0047BB"/>
                </a:solidFill>
              </a:rPr>
              <a:t>Lunedì- sabato </a:t>
            </a:r>
          </a:p>
          <a:p>
            <a:pPr marL="342900" lvl="1" indent="0" algn="ctr" defTabSz="685800">
              <a:buClrTx/>
              <a:buSzTx/>
              <a:buNone/>
            </a:pPr>
            <a:r>
              <a:rPr lang="it-IT" sz="900" dirty="0">
                <a:solidFill>
                  <a:srgbClr val="0047BB"/>
                </a:solidFill>
              </a:rPr>
              <a:t>(domenica e festivi attivabili a fronte di commesse specifiche )</a:t>
            </a:r>
            <a:r>
              <a:rPr lang="it-IT" sz="1050" dirty="0">
                <a:solidFill>
                  <a:srgbClr val="0047BB"/>
                </a:solidFill>
              </a:rPr>
              <a:t/>
            </a:r>
            <a:br>
              <a:rPr lang="it-IT" sz="1050" dirty="0">
                <a:solidFill>
                  <a:srgbClr val="0047BB"/>
                </a:solidFill>
              </a:rPr>
            </a:br>
            <a:endParaRPr lang="en-US" sz="1050" dirty="0">
              <a:solidFill>
                <a:srgbClr val="0047BB"/>
              </a:solidFill>
            </a:endParaRPr>
          </a:p>
        </p:txBody>
      </p:sp>
      <p:cxnSp>
        <p:nvCxnSpPr>
          <p:cNvPr id="34" name="Straight Connector 24"/>
          <p:cNvCxnSpPr>
            <a:cxnSpLocks/>
          </p:cNvCxnSpPr>
          <p:nvPr/>
        </p:nvCxnSpPr>
        <p:spPr>
          <a:xfrm>
            <a:off x="5439272" y="1828073"/>
            <a:ext cx="2923489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25"/>
          <p:cNvCxnSpPr>
            <a:cxnSpLocks/>
          </p:cNvCxnSpPr>
          <p:nvPr/>
        </p:nvCxnSpPr>
        <p:spPr>
          <a:xfrm>
            <a:off x="5439272" y="2745834"/>
            <a:ext cx="2970000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25"/>
          <p:cNvCxnSpPr>
            <a:cxnSpLocks/>
          </p:cNvCxnSpPr>
          <p:nvPr/>
        </p:nvCxnSpPr>
        <p:spPr>
          <a:xfrm>
            <a:off x="5439272" y="4351700"/>
            <a:ext cx="2970000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ounded Rectangle 132">
            <a:extLst>
              <a:ext uri="{FF2B5EF4-FFF2-40B4-BE49-F238E27FC236}">
                <a16:creationId xmlns="" xmlns:a16="http://schemas.microsoft.com/office/drawing/2014/main" id="{F42044D4-3756-42CC-A2FE-BB5CE69132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28375" y="4406226"/>
            <a:ext cx="1602318" cy="776280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0" tIns="68579" rIns="0" bIns="68579" anchor="ctr"/>
          <a:lstStyle/>
          <a:p>
            <a:pPr algn="ctr" defTabSz="666750"/>
            <a:r>
              <a:rPr lang="it-IT" sz="1350" b="1" dirty="0">
                <a:solidFill>
                  <a:srgbClr val="FFFFFF"/>
                </a:solidFill>
              </a:rPr>
              <a:t>Numero oggetti</a:t>
            </a:r>
          </a:p>
          <a:p>
            <a:pPr algn="ctr" defTabSz="666750"/>
            <a:r>
              <a:rPr lang="it-IT" sz="1350" b="1" dirty="0">
                <a:solidFill>
                  <a:srgbClr val="FFFFFF"/>
                </a:solidFill>
              </a:rPr>
              <a:t>al destinatario</a:t>
            </a:r>
            <a:endParaRPr lang="en-US" sz="1350" b="1" dirty="0">
              <a:solidFill>
                <a:srgbClr val="FFFFFF"/>
              </a:solidFill>
            </a:endParaRPr>
          </a:p>
        </p:txBody>
      </p:sp>
      <p:sp>
        <p:nvSpPr>
          <p:cNvPr id="24" name="TextBox 13">
            <a:extLst>
              <a:ext uri="{FF2B5EF4-FFF2-40B4-BE49-F238E27FC236}">
                <a16:creationId xmlns="" xmlns:a16="http://schemas.microsoft.com/office/drawing/2014/main" id="{8D566429-550C-4A90-B072-91DB3B808FCF}"/>
              </a:ext>
            </a:extLst>
          </p:cNvPr>
          <p:cNvSpPr txBox="1">
            <a:spLocks/>
          </p:cNvSpPr>
          <p:nvPr/>
        </p:nvSpPr>
        <p:spPr>
          <a:xfrm>
            <a:off x="695373" y="4716647"/>
            <a:ext cx="2568682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solidFill>
                  <a:schemeClr val="accent3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defRPr sz="1400" baseline="0">
                <a:solidFill>
                  <a:schemeClr val="accent3"/>
                </a:solidFill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accent3"/>
              </a:buClr>
              <a:buSzPct val="120000"/>
              <a:buFont typeface="Arial" charset="0"/>
              <a:buChar char="–"/>
              <a:defRPr sz="1400" baseline="0">
                <a:solidFill>
                  <a:schemeClr val="accent3"/>
                </a:solidFill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accent3"/>
              </a:buClr>
              <a:buSzPct val="120000"/>
              <a:buFont typeface="Arial" charset="0"/>
              <a:buChar char="▫"/>
              <a:defRPr sz="1400" baseline="0">
                <a:solidFill>
                  <a:schemeClr val="accent3"/>
                </a:solidFill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accent3"/>
              </a:buClr>
              <a:buSzPct val="89000"/>
              <a:buFont typeface="Arial" charset="0"/>
              <a:buChar char="-"/>
              <a:defRPr sz="1400" baseline="0">
                <a:solidFill>
                  <a:schemeClr val="accent3"/>
                </a:solidFill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342900" lvl="1" indent="0" algn="ctr" defTabSz="685800">
              <a:buClrTx/>
              <a:buSzTx/>
              <a:buNone/>
            </a:pPr>
            <a:r>
              <a:rPr lang="it-IT" sz="1350" dirty="0">
                <a:solidFill>
                  <a:schemeClr val="tx2"/>
                </a:solidFill>
              </a:rPr>
              <a:t>Predefinito (44R)</a:t>
            </a:r>
          </a:p>
        </p:txBody>
      </p:sp>
      <p:cxnSp>
        <p:nvCxnSpPr>
          <p:cNvPr id="39" name="Straight Connector 24">
            <a:extLst>
              <a:ext uri="{FF2B5EF4-FFF2-40B4-BE49-F238E27FC236}">
                <a16:creationId xmlns="" xmlns:a16="http://schemas.microsoft.com/office/drawing/2014/main" id="{13AE7FDA-5821-4465-9FC6-E47878F31AD9}"/>
              </a:ext>
            </a:extLst>
          </p:cNvPr>
          <p:cNvCxnSpPr>
            <a:cxnSpLocks/>
          </p:cNvCxnSpPr>
          <p:nvPr/>
        </p:nvCxnSpPr>
        <p:spPr>
          <a:xfrm>
            <a:off x="517970" y="4351700"/>
            <a:ext cx="306325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13">
            <a:extLst>
              <a:ext uri="{FF2B5EF4-FFF2-40B4-BE49-F238E27FC236}">
                <a16:creationId xmlns="" xmlns:a16="http://schemas.microsoft.com/office/drawing/2014/main" id="{FC62FD10-34ED-426F-B989-903D6C55F4C3}"/>
              </a:ext>
            </a:extLst>
          </p:cNvPr>
          <p:cNvSpPr txBox="1">
            <a:spLocks/>
          </p:cNvSpPr>
          <p:nvPr/>
        </p:nvSpPr>
        <p:spPr>
          <a:xfrm>
            <a:off x="5692086" y="4609513"/>
            <a:ext cx="2568682" cy="4154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solidFill>
                  <a:schemeClr val="accent3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accent3"/>
              </a:buClr>
              <a:buSzPct val="125000"/>
              <a:buFont typeface="Arial" panose="020B0604020202020204" pitchFamily="34" charset="0"/>
              <a:buChar char="•"/>
              <a:defRPr sz="1400" baseline="0">
                <a:solidFill>
                  <a:schemeClr val="accent3"/>
                </a:solidFill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accent3"/>
              </a:buClr>
              <a:buSzPct val="120000"/>
              <a:buFont typeface="Arial" charset="0"/>
              <a:buChar char="–"/>
              <a:defRPr sz="1400" baseline="0">
                <a:solidFill>
                  <a:schemeClr val="accent3"/>
                </a:solidFill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accent3"/>
              </a:buClr>
              <a:buSzPct val="120000"/>
              <a:buFont typeface="Arial" charset="0"/>
              <a:buChar char="▫"/>
              <a:defRPr sz="1400" baseline="0">
                <a:solidFill>
                  <a:schemeClr val="accent3"/>
                </a:solidFill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accent3"/>
              </a:buClr>
              <a:buSzPct val="89000"/>
              <a:buFont typeface="Arial" charset="0"/>
              <a:buChar char="-"/>
              <a:defRPr sz="1400" baseline="0">
                <a:solidFill>
                  <a:schemeClr val="accent3"/>
                </a:solidFill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342900" lvl="1" indent="0" algn="ctr" defTabSz="685800">
              <a:buClrTx/>
              <a:buSzTx/>
              <a:buNone/>
            </a:pPr>
            <a:r>
              <a:rPr lang="it-IT" sz="1350" dirty="0">
                <a:solidFill>
                  <a:schemeClr val="tx2"/>
                </a:solidFill>
              </a:rPr>
              <a:t>Valore medio in funzione del gruppo di riferimento</a:t>
            </a:r>
          </a:p>
        </p:txBody>
      </p:sp>
    </p:spTree>
    <p:extLst>
      <p:ext uri="{BB962C8B-B14F-4D97-AF65-F5344CB8AC3E}">
        <p14:creationId xmlns:p14="http://schemas.microsoft.com/office/powerpoint/2010/main" val="2002721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6434" name="Ogget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38" name="Diapositiva think-cell" r:id="rId6" imgW="360" imgH="360" progId="TCLayout.ActiveDocument.1">
                  <p:embed/>
                </p:oleObj>
              </mc:Choice>
              <mc:Fallback>
                <p:oleObj name="Diapositiva think-cell" r:id="rId6" imgW="360" imgH="360" progId="TCLayout.ActiveDocument.1">
                  <p:embed/>
                  <p:pic>
                    <p:nvPicPr>
                      <p:cNvPr id="146434" name="Oggetto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egnaposto numero diapositiva 4"/>
          <p:cNvSpPr>
            <a:spLocks noGrp="1"/>
          </p:cNvSpPr>
          <p:nvPr>
            <p:ph type="sldNum" sz="quarter" idx="16"/>
          </p:nvPr>
        </p:nvSpPr>
        <p:spPr>
          <a:xfrm>
            <a:off x="8659606" y="6500834"/>
            <a:ext cx="484394" cy="357187"/>
          </a:xfr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  <a:latin typeface="+mj-lt"/>
              </a:rPr>
              <a:pPr/>
              <a:t>4</a:t>
            </a:fld>
            <a:endParaRPr lang="it-IT" dirty="0">
              <a:solidFill>
                <a:prstClr val="white"/>
              </a:solidFill>
              <a:latin typeface="+mj-lt"/>
            </a:endParaRPr>
          </a:p>
        </p:txBody>
      </p:sp>
      <p:sp>
        <p:nvSpPr>
          <p:cNvPr id="43" name="Right Arrow 227"/>
          <p:cNvSpPr/>
          <p:nvPr/>
        </p:nvSpPr>
        <p:spPr>
          <a:xfrm>
            <a:off x="2224036" y="2923695"/>
            <a:ext cx="628650" cy="303212"/>
          </a:xfrm>
          <a:prstGeom prst="rightArrow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0000" bIns="90000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endParaRPr lang="it-IT" sz="1200" dirty="0">
              <a:solidFill>
                <a:srgbClr val="000000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44" name="Rectangle 236"/>
          <p:cNvSpPr>
            <a:spLocks noChangeArrowheads="1"/>
          </p:cNvSpPr>
          <p:nvPr/>
        </p:nvSpPr>
        <p:spPr bwMode="auto">
          <a:xfrm>
            <a:off x="6824371" y="4604252"/>
            <a:ext cx="574627" cy="238647"/>
          </a:xfrm>
          <a:prstGeom prst="rect">
            <a:avLst/>
          </a:prstGeom>
          <a:solidFill>
            <a:srgbClr val="F4E601"/>
          </a:solidFill>
          <a:ln w="9525" algn="ctr">
            <a:solidFill>
              <a:srgbClr val="F4E601"/>
            </a:solidFill>
            <a:round/>
            <a:headEnd/>
            <a:tailEnd/>
          </a:ln>
        </p:spPr>
        <p:txBody>
          <a:bodyPr lIns="0" tIns="91439" rIns="0" bIns="91439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defTabSz="889000"/>
            <a:r>
              <a:rPr lang="it-IT" sz="700" b="1" dirty="0">
                <a:latin typeface="+mj-lt"/>
                <a:cs typeface="Calibri" panose="020F0502020204030204" pitchFamily="34" charset="0"/>
              </a:rPr>
              <a:t>Linea “Business"</a:t>
            </a:r>
            <a:endParaRPr lang="en-US" sz="700" b="1" dirty="0">
              <a:latin typeface="+mj-lt"/>
              <a:cs typeface="Calibri" panose="020F0502020204030204" pitchFamily="34" charset="0"/>
            </a:endParaRPr>
          </a:p>
        </p:txBody>
      </p:sp>
      <p:sp>
        <p:nvSpPr>
          <p:cNvPr id="45" name="Rectangle 240"/>
          <p:cNvSpPr>
            <a:spLocks noChangeArrowheads="1"/>
          </p:cNvSpPr>
          <p:nvPr/>
        </p:nvSpPr>
        <p:spPr bwMode="auto">
          <a:xfrm>
            <a:off x="-20348" y="785231"/>
            <a:ext cx="1622084" cy="244475"/>
          </a:xfrm>
          <a:prstGeom prst="rect">
            <a:avLst/>
          </a:prstGeom>
          <a:solidFill>
            <a:srgbClr val="CEA09D"/>
          </a:solidFill>
          <a:ln w="9525" algn="ctr">
            <a:solidFill>
              <a:srgbClr val="CEA09D"/>
            </a:solidFill>
            <a:round/>
            <a:headEnd/>
            <a:tailEnd/>
          </a:ln>
        </p:spPr>
        <p:txBody>
          <a:bodyPr tIns="91440" bIns="91440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defTabSz="889000"/>
            <a:r>
              <a:rPr lang="it-IT" b="1" dirty="0">
                <a:solidFill>
                  <a:srgbClr val="FFFFFF"/>
                </a:solidFill>
                <a:latin typeface="Calibri" pitchFamily="34" charset="0"/>
                <a:cs typeface="Calibri" panose="020F0502020204030204" pitchFamily="34" charset="0"/>
              </a:rPr>
              <a:t>Illustrativo</a:t>
            </a:r>
            <a:endParaRPr lang="en-US" b="1" dirty="0">
              <a:solidFill>
                <a:srgbClr val="FFFFFF"/>
              </a:solidFill>
              <a:latin typeface="Calibri" pitchFamily="34" charset="0"/>
              <a:cs typeface="Calibri" panose="020F0502020204030204" pitchFamily="34" charset="0"/>
            </a:endParaRPr>
          </a:p>
        </p:txBody>
      </p:sp>
      <p:sp>
        <p:nvSpPr>
          <p:cNvPr id="46" name="AutoShape 4"/>
          <p:cNvSpPr>
            <a:spLocks noChangeArrowheads="1"/>
          </p:cNvSpPr>
          <p:nvPr/>
        </p:nvSpPr>
        <p:spPr bwMode="gray">
          <a:xfrm rot="5400000">
            <a:off x="3081766" y="3609074"/>
            <a:ext cx="2957173" cy="158750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endParaRPr lang="it-IT" sz="1200" b="1">
              <a:solidFill>
                <a:srgbClr val="000000"/>
              </a:solidFill>
              <a:latin typeface="+mj-lt"/>
              <a:cs typeface="Calibri" panose="020F0502020204030204" pitchFamily="34" charset="0"/>
            </a:endParaRPr>
          </a:p>
        </p:txBody>
      </p:sp>
      <p:grpSp>
        <p:nvGrpSpPr>
          <p:cNvPr id="47" name="Group 478"/>
          <p:cNvGrpSpPr>
            <a:grpSpLocks/>
          </p:cNvGrpSpPr>
          <p:nvPr/>
        </p:nvGrpSpPr>
        <p:grpSpPr bwMode="auto">
          <a:xfrm>
            <a:off x="2212923" y="3906357"/>
            <a:ext cx="628650" cy="420688"/>
            <a:chOff x="1967026" y="3891516"/>
            <a:chExt cx="628893" cy="420921"/>
          </a:xfrm>
        </p:grpSpPr>
        <p:sp>
          <p:nvSpPr>
            <p:cNvPr id="48" name="Right Arrow 475"/>
            <p:cNvSpPr/>
            <p:nvPr/>
          </p:nvSpPr>
          <p:spPr>
            <a:xfrm>
              <a:off x="1967026" y="3950287"/>
              <a:ext cx="628893" cy="303380"/>
            </a:xfrm>
            <a:prstGeom prst="rightArrow">
              <a:avLst/>
            </a:prstGeom>
            <a:solidFill>
              <a:schemeClr val="bg2"/>
            </a:solidFill>
            <a:ln w="9525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90000" bIns="90000" anchor="ctr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it-IT" sz="1200" dirty="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pic>
          <p:nvPicPr>
            <p:cNvPr id="49" name="Picture 3" descr="D:\LocalData\TrimnellR\My Documents\My Pictures\truck_ap_icon.png"/>
            <p:cNvPicPr>
              <a:picLocks noChangeArrowheads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009553" y="3891516"/>
              <a:ext cx="414235" cy="420921"/>
            </a:xfrm>
            <a:prstGeom prst="rect">
              <a:avLst/>
            </a:prstGeom>
            <a:noFill/>
            <a:ln w="9525">
              <a:solidFill>
                <a:schemeClr val="tx1">
                  <a:lumMod val="60000"/>
                  <a:lumOff val="40000"/>
                </a:schemeClr>
              </a:solidFill>
              <a:miter lim="800000"/>
              <a:headEnd/>
              <a:tailEnd/>
            </a:ln>
          </p:spPr>
        </p:pic>
      </p:grpSp>
      <p:grpSp>
        <p:nvGrpSpPr>
          <p:cNvPr id="50" name="Group 494"/>
          <p:cNvGrpSpPr>
            <a:grpSpLocks/>
          </p:cNvGrpSpPr>
          <p:nvPr/>
        </p:nvGrpSpPr>
        <p:grpSpPr bwMode="auto">
          <a:xfrm>
            <a:off x="182511" y="2364915"/>
            <a:ext cx="2030412" cy="1339851"/>
            <a:chOff x="138223" y="1754648"/>
            <a:chExt cx="2030816" cy="1339432"/>
          </a:xfrm>
        </p:grpSpPr>
        <p:sp>
          <p:nvSpPr>
            <p:cNvPr id="51" name="Rectangle 223"/>
            <p:cNvSpPr>
              <a:spLocks noChangeArrowheads="1"/>
            </p:cNvSpPr>
            <p:nvPr/>
          </p:nvSpPr>
          <p:spPr bwMode="auto">
            <a:xfrm>
              <a:off x="138223" y="1754648"/>
              <a:ext cx="2009554" cy="323064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r>
                <a:rPr lang="en-GB" sz="1050" b="1" dirty="0" err="1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Articolazione</a:t>
              </a:r>
              <a:r>
                <a:rPr lang="en-GB" sz="1050" b="1" dirty="0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 </a:t>
              </a:r>
              <a:r>
                <a:rPr lang="en-GB" sz="1050" b="1" dirty="0" err="1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Universale</a:t>
              </a:r>
              <a:endParaRPr lang="en-GB" sz="1050" b="1" dirty="0">
                <a:solidFill>
                  <a:srgbClr val="FFFFFF"/>
                </a:solidFill>
                <a:latin typeface="+mj-lt"/>
                <a:cs typeface="Calibri" panose="020F0502020204030204" pitchFamily="34" charset="0"/>
              </a:endParaRPr>
            </a:p>
            <a:p>
              <a:pPr algn="ctr"/>
              <a:r>
                <a:rPr lang="en-GB" sz="1050" b="1" dirty="0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(</a:t>
              </a:r>
              <a:r>
                <a:rPr lang="en-GB" sz="1050" b="1" dirty="0" err="1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recapito</a:t>
              </a:r>
              <a:r>
                <a:rPr lang="en-GB" sz="1050" b="1" dirty="0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 </a:t>
              </a:r>
              <a:r>
                <a:rPr lang="en-GB" sz="1050" b="1" dirty="0" err="1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quotidiano</a:t>
              </a:r>
              <a:r>
                <a:rPr lang="en-GB" sz="1050" b="1" dirty="0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)</a:t>
              </a:r>
            </a:p>
          </p:txBody>
        </p:sp>
        <p:pic>
          <p:nvPicPr>
            <p:cNvPr id="52" name="Picture 3" descr="C:\Users\Vijayakumar Shruthi\AppData\Local\Microsoft\Windows\Temporary Internet Files\Content.Outlook\GVZR9D97\parcel_ap_icon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937069" y="2553226"/>
              <a:ext cx="286836" cy="2976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8" name="TextBox 71"/>
            <p:cNvSpPr txBox="1"/>
            <p:nvPr/>
          </p:nvSpPr>
          <p:spPr>
            <a:xfrm>
              <a:off x="781288" y="2697329"/>
              <a:ext cx="606546" cy="320157"/>
            </a:xfrm>
            <a:prstGeom prst="rect">
              <a:avLst/>
            </a:prstGeom>
            <a:noFill/>
          </p:spPr>
          <p:txBody>
            <a:bodyPr tIns="90000" bIns="90000">
              <a:sp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dirty="0" err="1">
                  <a:latin typeface="+mj-lt"/>
                  <a:cs typeface="Calibri" panose="020F0502020204030204" pitchFamily="34" charset="0"/>
                </a:rPr>
                <a:t>Pacchi</a:t>
              </a:r>
              <a:endParaRPr lang="en-GB" sz="900" dirty="0">
                <a:latin typeface="+mj-lt"/>
                <a:cs typeface="Calibri" panose="020F0502020204030204" pitchFamily="34" charset="0"/>
              </a:endParaRPr>
            </a:p>
          </p:txBody>
        </p:sp>
        <p:grpSp>
          <p:nvGrpSpPr>
            <p:cNvPr id="89" name="Group 472"/>
            <p:cNvGrpSpPr>
              <a:grpSpLocks/>
            </p:cNvGrpSpPr>
            <p:nvPr/>
          </p:nvGrpSpPr>
          <p:grpSpPr bwMode="auto">
            <a:xfrm>
              <a:off x="446259" y="2211575"/>
              <a:ext cx="706578" cy="344899"/>
              <a:chOff x="329499" y="2211573"/>
              <a:chExt cx="755759" cy="374555"/>
            </a:xfrm>
          </p:grpSpPr>
          <p:grpSp>
            <p:nvGrpSpPr>
              <p:cNvPr id="103" name="Group 64"/>
              <p:cNvGrpSpPr>
                <a:grpSpLocks/>
              </p:cNvGrpSpPr>
              <p:nvPr/>
            </p:nvGrpSpPr>
            <p:grpSpPr bwMode="auto">
              <a:xfrm>
                <a:off x="480650" y="2211573"/>
                <a:ext cx="463704" cy="327241"/>
                <a:chOff x="652699" y="4584584"/>
                <a:chExt cx="997579" cy="720000"/>
              </a:xfrm>
            </p:grpSpPr>
            <p:pic>
              <p:nvPicPr>
                <p:cNvPr id="105" name="Picture 74" descr="mail_ap_icon.png"/>
                <p:cNvPicPr>
                  <a:picLocks noChangeAspect="1"/>
                </p:cNvPicPr>
                <p:nvPr/>
              </p:nvPicPr>
              <p:blipFill>
                <a:blip r:embed="rId10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rcRect/>
                <a:stretch>
                  <a:fillRect/>
                </a:stretch>
              </p:blipFill>
              <p:spPr bwMode="auto">
                <a:xfrm>
                  <a:off x="930278" y="4584584"/>
                  <a:ext cx="720000" cy="72000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cxnSp>
              <p:nvCxnSpPr>
                <p:cNvPr id="106" name="Straight Connector 75"/>
                <p:cNvCxnSpPr/>
                <p:nvPr/>
              </p:nvCxnSpPr>
              <p:spPr>
                <a:xfrm flipH="1">
                  <a:off x="652699" y="4823793"/>
                  <a:ext cx="361716" cy="0"/>
                </a:xfrm>
                <a:prstGeom prst="line">
                  <a:avLst/>
                </a:prstGeom>
                <a:ln w="57150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" name="Straight Connector 76"/>
                <p:cNvCxnSpPr/>
                <p:nvPr/>
              </p:nvCxnSpPr>
              <p:spPr>
                <a:xfrm flipH="1">
                  <a:off x="725773" y="4941346"/>
                  <a:ext cx="288642" cy="0"/>
                </a:xfrm>
                <a:prstGeom prst="line">
                  <a:avLst/>
                </a:prstGeom>
                <a:ln w="57150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Straight Connector 77"/>
                <p:cNvCxnSpPr/>
                <p:nvPr/>
              </p:nvCxnSpPr>
              <p:spPr>
                <a:xfrm flipH="1">
                  <a:off x="795194" y="5055106"/>
                  <a:ext cx="219221" cy="0"/>
                </a:xfrm>
                <a:prstGeom prst="line">
                  <a:avLst/>
                </a:prstGeom>
                <a:ln w="57150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04" name="TextBox 78"/>
              <p:cNvSpPr txBox="1"/>
              <p:nvPr/>
            </p:nvSpPr>
            <p:spPr>
              <a:xfrm>
                <a:off x="329499" y="2435767"/>
                <a:ext cx="755759" cy="150361"/>
              </a:xfrm>
              <a:prstGeom prst="rect">
                <a:avLst/>
              </a:prstGeom>
              <a:noFill/>
            </p:spPr>
            <p:txBody>
              <a:bodyPr lIns="0" tIns="0" rIns="0" bIns="0">
                <a:spAutoFit/>
              </a:bodyPr>
              <a:lstStyle>
                <a:defPPr>
                  <a:defRPr lang="en-GB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GB" sz="900" dirty="0" err="1">
                    <a:latin typeface="+mj-lt"/>
                    <a:cs typeface="Calibri" panose="020F0502020204030204" pitchFamily="34" charset="0"/>
                  </a:rPr>
                  <a:t>Prioritaria</a:t>
                </a:r>
                <a:endParaRPr lang="en-GB" sz="900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90" name="Group 471"/>
            <p:cNvGrpSpPr>
              <a:grpSpLocks/>
            </p:cNvGrpSpPr>
            <p:nvPr/>
          </p:nvGrpSpPr>
          <p:grpSpPr bwMode="auto">
            <a:xfrm>
              <a:off x="1044866" y="2247474"/>
              <a:ext cx="773267" cy="313752"/>
              <a:chOff x="884708" y="2208036"/>
              <a:chExt cx="827092" cy="340732"/>
            </a:xfrm>
          </p:grpSpPr>
          <p:pic>
            <p:nvPicPr>
              <p:cNvPr id="100" name="Picture 4" descr="https://www.auspostbrand.com.au/media/17555/mail_ap_icon.png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 l="13157" t="23954" r="13077" b="24618"/>
              <a:stretch>
                <a:fillRect/>
              </a:stretch>
            </p:blipFill>
            <p:spPr bwMode="auto">
              <a:xfrm>
                <a:off x="1183615" y="2267422"/>
                <a:ext cx="249657" cy="168900"/>
              </a:xfrm>
              <a:prstGeom prst="rect">
                <a:avLst/>
              </a:prstGeom>
              <a:solidFill>
                <a:schemeClr val="accent3"/>
              </a:solidFill>
            </p:spPr>
          </p:pic>
          <p:sp>
            <p:nvSpPr>
              <p:cNvPr id="101" name="TextBox 80"/>
              <p:cNvSpPr txBox="1"/>
              <p:nvPr/>
            </p:nvSpPr>
            <p:spPr>
              <a:xfrm>
                <a:off x="884708" y="2398406"/>
                <a:ext cx="827092" cy="150362"/>
              </a:xfrm>
              <a:prstGeom prst="rect">
                <a:avLst/>
              </a:prstGeom>
              <a:noFill/>
            </p:spPr>
            <p:txBody>
              <a:bodyPr lIns="0" tIns="0" rIns="0" bIns="0">
                <a:spAutoFit/>
              </a:bodyPr>
              <a:lstStyle>
                <a:defPPr>
                  <a:defRPr lang="en-GB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GB" sz="900" dirty="0" err="1">
                    <a:latin typeface="+mj-lt"/>
                    <a:cs typeface="Calibri" panose="020F0502020204030204" pitchFamily="34" charset="0"/>
                  </a:rPr>
                  <a:t>Registrata</a:t>
                </a:r>
                <a:endParaRPr lang="en-GB" sz="900" dirty="0">
                  <a:latin typeface="+mj-lt"/>
                  <a:cs typeface="Calibri" panose="020F0502020204030204" pitchFamily="34" charset="0"/>
                </a:endParaRPr>
              </a:p>
            </p:txBody>
          </p:sp>
          <p:pic>
            <p:nvPicPr>
              <p:cNvPr id="102" name="clipart_icons_lockLocked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1226608" y="2208036"/>
                <a:ext cx="162829" cy="1795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pic>
          <p:nvPicPr>
            <p:cNvPr id="91" name="Picture 4" descr="https://www.auspostbrand.com.au/media/17555/mail_ap_icon.png"/>
            <p:cNvPicPr>
              <a:picLocks noChangeAspect="1" noChangeArrowheads="1"/>
            </p:cNvPicPr>
            <p:nvPr/>
          </p:nvPicPr>
          <p:blipFill>
            <a:blip r:embed="rId10" cstate="print"/>
            <a:srcRect l="13157" t="23954" r="13077" b="24618"/>
            <a:stretch>
              <a:fillRect/>
            </a:stretch>
          </p:blipFill>
          <p:spPr bwMode="auto">
            <a:xfrm>
              <a:off x="338288" y="2630675"/>
              <a:ext cx="266753" cy="157113"/>
            </a:xfrm>
            <a:prstGeom prst="rect">
              <a:avLst/>
            </a:prstGeom>
            <a:solidFill>
              <a:schemeClr val="accent3"/>
            </a:solidFill>
          </p:spPr>
        </p:pic>
        <p:pic>
          <p:nvPicPr>
            <p:cNvPr id="92" name="Picture 4" descr="https://www.auspostbrand.com.au/media/17555/mail_ap_icon.png"/>
            <p:cNvPicPr>
              <a:picLocks noChangeAspect="1" noChangeArrowheads="1"/>
            </p:cNvPicPr>
            <p:nvPr/>
          </p:nvPicPr>
          <p:blipFill>
            <a:blip r:embed="rId10" cstate="print"/>
            <a:srcRect l="13157" t="23954" r="13077" b="24618"/>
            <a:stretch>
              <a:fillRect/>
            </a:stretch>
          </p:blipFill>
          <p:spPr bwMode="auto">
            <a:xfrm>
              <a:off x="338288" y="2600521"/>
              <a:ext cx="266753" cy="155526"/>
            </a:xfrm>
            <a:prstGeom prst="rect">
              <a:avLst/>
            </a:prstGeom>
            <a:solidFill>
              <a:schemeClr val="accent3"/>
            </a:solidFill>
          </p:spPr>
        </p:pic>
        <p:sp>
          <p:nvSpPr>
            <p:cNvPr id="93" name="TextBox 88"/>
            <p:cNvSpPr txBox="1"/>
            <p:nvPr/>
          </p:nvSpPr>
          <p:spPr>
            <a:xfrm>
              <a:off x="157277" y="2673523"/>
              <a:ext cx="604957" cy="320157"/>
            </a:xfrm>
            <a:prstGeom prst="rect">
              <a:avLst/>
            </a:prstGeom>
            <a:noFill/>
          </p:spPr>
          <p:txBody>
            <a:bodyPr tIns="90000" bIns="90000">
              <a:sp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dirty="0" err="1">
                  <a:latin typeface="+mj-lt"/>
                  <a:cs typeface="Calibri" panose="020F0502020204030204" pitchFamily="34" charset="0"/>
                </a:rPr>
                <a:t>Massiva</a:t>
              </a:r>
              <a:endParaRPr lang="en-GB" sz="900" dirty="0">
                <a:latin typeface="+mj-lt"/>
                <a:cs typeface="Calibri" panose="020F0502020204030204" pitchFamily="34" charset="0"/>
              </a:endParaRPr>
            </a:p>
          </p:txBody>
        </p:sp>
        <p:pic>
          <p:nvPicPr>
            <p:cNvPr id="94" name="Picture 4" descr="https://www.auspostbrand.com.au/media/17555/mail_ap_icon.png"/>
            <p:cNvPicPr>
              <a:picLocks noChangeAspect="1" noChangeArrowheads="1"/>
            </p:cNvPicPr>
            <p:nvPr/>
          </p:nvPicPr>
          <p:blipFill>
            <a:blip r:embed="rId10" cstate="print"/>
            <a:srcRect l="13157" t="23954" r="13077" b="24618"/>
            <a:stretch>
              <a:fillRect/>
            </a:stretch>
          </p:blipFill>
          <p:spPr bwMode="auto">
            <a:xfrm>
              <a:off x="338288" y="2584651"/>
              <a:ext cx="266753" cy="155526"/>
            </a:xfrm>
            <a:prstGeom prst="rect">
              <a:avLst/>
            </a:prstGeom>
            <a:solidFill>
              <a:schemeClr val="accent3"/>
            </a:solidFill>
          </p:spPr>
        </p:pic>
        <p:sp>
          <p:nvSpPr>
            <p:cNvPr id="95" name="TextBox 90"/>
            <p:cNvSpPr txBox="1"/>
            <p:nvPr/>
          </p:nvSpPr>
          <p:spPr>
            <a:xfrm>
              <a:off x="1297329" y="2729069"/>
              <a:ext cx="871710" cy="323062"/>
            </a:xfrm>
            <a:prstGeom prst="rect">
              <a:avLst/>
            </a:prstGeom>
            <a:noFill/>
          </p:spPr>
          <p:txBody>
            <a:bodyPr lIns="0" tIns="91439" rIns="0" bIns="91439">
              <a:sp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dirty="0" err="1">
                  <a:latin typeface="+mj-lt"/>
                  <a:cs typeface="Calibri" panose="020F0502020204030204" pitchFamily="34" charset="0"/>
                </a:rPr>
                <a:t>Editoria</a:t>
              </a:r>
              <a:r>
                <a:rPr lang="en-GB" sz="900" dirty="0">
                  <a:latin typeface="+mj-lt"/>
                  <a:cs typeface="Calibri" panose="020F0502020204030204" pitchFamily="34" charset="0"/>
                </a:rPr>
                <a:t> e DM</a:t>
              </a:r>
            </a:p>
          </p:txBody>
        </p:sp>
        <p:grpSp>
          <p:nvGrpSpPr>
            <p:cNvPr id="96" name="Group 476"/>
            <p:cNvGrpSpPr>
              <a:grpSpLocks/>
            </p:cNvGrpSpPr>
            <p:nvPr/>
          </p:nvGrpSpPr>
          <p:grpSpPr bwMode="auto">
            <a:xfrm>
              <a:off x="1467295" y="2573079"/>
              <a:ext cx="453195" cy="275902"/>
              <a:chOff x="891360" y="2773316"/>
              <a:chExt cx="561295" cy="330846"/>
            </a:xfrm>
          </p:grpSpPr>
          <p:pic>
            <p:nvPicPr>
              <p:cNvPr id="98" name="Picture 206" descr="mail_ap_icon.png"/>
              <p:cNvPicPr>
                <a:picLocks noChangeAspect="1"/>
              </p:cNvPicPr>
              <p:nvPr/>
            </p:nvPicPr>
            <p:blipFill>
              <a:blip r:embed="rId10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102418" y="2773316"/>
                <a:ext cx="350237" cy="3308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9" name="Picture 7" descr="http://www.ergonotec.it/images/carrello.gif"/>
              <p:cNvPicPr>
                <a:picLocks noChangeAspect="1" noChangeArrowheads="1"/>
              </p:cNvPicPr>
              <p:nvPr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891360" y="2807618"/>
                <a:ext cx="264978" cy="2281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97" name="Rectangle 479"/>
            <p:cNvSpPr>
              <a:spLocks noChangeArrowheads="1"/>
            </p:cNvSpPr>
            <p:nvPr/>
          </p:nvSpPr>
          <p:spPr bwMode="auto">
            <a:xfrm>
              <a:off x="138223" y="1765010"/>
              <a:ext cx="2009554" cy="132907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tIns="91440" bIns="91440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 defTabSz="889000"/>
              <a:endParaRPr lang="en-US" sz="1200">
                <a:solidFill>
                  <a:srgbClr val="0047A9"/>
                </a:solidFill>
                <a:latin typeface="+mj-lt"/>
                <a:cs typeface="Calibri" panose="020F0502020204030204" pitchFamily="34" charset="0"/>
              </a:endParaRPr>
            </a:p>
          </p:txBody>
        </p:sp>
      </p:grpSp>
      <p:grpSp>
        <p:nvGrpSpPr>
          <p:cNvPr id="109" name="Group 507"/>
          <p:cNvGrpSpPr>
            <a:grpSpLocks/>
          </p:cNvGrpSpPr>
          <p:nvPr/>
        </p:nvGrpSpPr>
        <p:grpSpPr bwMode="auto">
          <a:xfrm>
            <a:off x="185755" y="3769841"/>
            <a:ext cx="2009775" cy="701148"/>
            <a:chOff x="141767" y="3158422"/>
            <a:chExt cx="2009554" cy="701091"/>
          </a:xfrm>
        </p:grpSpPr>
        <p:sp>
          <p:nvSpPr>
            <p:cNvPr id="110" name="TextBox 259"/>
            <p:cNvSpPr txBox="1"/>
            <p:nvPr/>
          </p:nvSpPr>
          <p:spPr>
            <a:xfrm>
              <a:off x="141767" y="3158422"/>
              <a:ext cx="2009554" cy="161570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txBody>
            <a:bodyPr lIns="0" tIns="0" rIns="0" bIns="0">
              <a:sp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50" b="1" dirty="0" err="1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ASI</a:t>
              </a:r>
              <a:endParaRPr lang="en-GB" sz="1050" b="1" dirty="0">
                <a:solidFill>
                  <a:srgbClr val="FFFFFF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grpSp>
          <p:nvGrpSpPr>
            <p:cNvPr id="111" name="Group 261"/>
            <p:cNvGrpSpPr>
              <a:grpSpLocks/>
            </p:cNvGrpSpPr>
            <p:nvPr/>
          </p:nvGrpSpPr>
          <p:grpSpPr bwMode="auto">
            <a:xfrm>
              <a:off x="521132" y="3335761"/>
              <a:ext cx="1159932" cy="523752"/>
              <a:chOff x="7800051" y="5214263"/>
              <a:chExt cx="1520922" cy="622659"/>
            </a:xfrm>
          </p:grpSpPr>
          <p:pic>
            <p:nvPicPr>
              <p:cNvPr id="113" name="Picture 4" descr="https://www.auspostbrand.com.au/media/17555/mail_ap_icon.png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 l="13157" t="23954" r="13077" b="24618"/>
              <a:stretch>
                <a:fillRect/>
              </a:stretch>
            </p:blipFill>
            <p:spPr bwMode="auto">
              <a:xfrm>
                <a:off x="8141388" y="5318480"/>
                <a:ext cx="318443" cy="200036"/>
              </a:xfrm>
              <a:prstGeom prst="rect">
                <a:avLst/>
              </a:prstGeom>
              <a:solidFill>
                <a:schemeClr val="accent3"/>
              </a:solidFill>
            </p:spPr>
          </p:pic>
          <p:sp>
            <p:nvSpPr>
              <p:cNvPr id="114" name="TextBox 263"/>
              <p:cNvSpPr txBox="1"/>
              <p:nvPr/>
            </p:nvSpPr>
            <p:spPr>
              <a:xfrm>
                <a:off x="7800051" y="5435485"/>
                <a:ext cx="938677" cy="380704"/>
              </a:xfrm>
              <a:prstGeom prst="rect">
                <a:avLst/>
              </a:prstGeom>
              <a:noFill/>
            </p:spPr>
            <p:txBody>
              <a:bodyPr tIns="90000" bIns="90000">
                <a:spAutoFit/>
              </a:bodyPr>
              <a:lstStyle>
                <a:defPPr>
                  <a:defRPr lang="en-GB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GB" sz="900" dirty="0" err="1">
                    <a:latin typeface="+mj-lt"/>
                    <a:cs typeface="Calibri" panose="020F0502020204030204" pitchFamily="34" charset="0"/>
                  </a:rPr>
                  <a:t>Registrata</a:t>
                </a:r>
                <a:endParaRPr lang="en-GB" sz="900" dirty="0">
                  <a:latin typeface="+mj-lt"/>
                  <a:cs typeface="Calibri" panose="020F0502020204030204" pitchFamily="34" charset="0"/>
                </a:endParaRPr>
              </a:p>
            </p:txBody>
          </p:sp>
          <p:pic>
            <p:nvPicPr>
              <p:cNvPr id="115" name="clipart_icons_lockLocked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8196081" y="5248178"/>
                <a:ext cx="209092" cy="2131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6" name="Picture 3" descr="C:\Users\Vijayakumar Shruthi\AppData\Local\Microsoft\Windows\Temporary Internet Files\Content.Outlook\GVZR9D97\parcel_ap_icon.png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8701485" y="5214263"/>
                <a:ext cx="393969" cy="3837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17" name="TextBox 266"/>
              <p:cNvSpPr txBox="1"/>
              <p:nvPr/>
            </p:nvSpPr>
            <p:spPr>
              <a:xfrm>
                <a:off x="8580541" y="5456218"/>
                <a:ext cx="740432" cy="380704"/>
              </a:xfrm>
              <a:prstGeom prst="rect">
                <a:avLst/>
              </a:prstGeom>
              <a:noFill/>
            </p:spPr>
            <p:txBody>
              <a:bodyPr wrap="square" tIns="90000" bIns="90000">
                <a:spAutoFit/>
              </a:bodyPr>
              <a:lstStyle>
                <a:defPPr>
                  <a:defRPr lang="en-GB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GB" sz="900" dirty="0" err="1">
                    <a:latin typeface="+mj-lt"/>
                    <a:cs typeface="Calibri" panose="020F0502020204030204" pitchFamily="34" charset="0"/>
                  </a:rPr>
                  <a:t>Pacchi</a:t>
                </a:r>
                <a:endParaRPr lang="en-GB" sz="900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12" name="Rectangle 482"/>
            <p:cNvSpPr>
              <a:spLocks noChangeArrowheads="1"/>
            </p:cNvSpPr>
            <p:nvPr/>
          </p:nvSpPr>
          <p:spPr bwMode="auto">
            <a:xfrm>
              <a:off x="141767" y="3161407"/>
              <a:ext cx="2009554" cy="64504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tIns="91440" bIns="91440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 defTabSz="889000"/>
              <a:endParaRPr lang="en-US" sz="1200">
                <a:solidFill>
                  <a:srgbClr val="0047A9"/>
                </a:solidFill>
                <a:latin typeface="+mj-lt"/>
                <a:cs typeface="Calibri" panose="020F0502020204030204" pitchFamily="34" charset="0"/>
              </a:endParaRPr>
            </a:p>
          </p:txBody>
        </p:sp>
      </p:grpSp>
      <p:sp>
        <p:nvSpPr>
          <p:cNvPr id="118" name="Right Arrow 496"/>
          <p:cNvSpPr/>
          <p:nvPr/>
        </p:nvSpPr>
        <p:spPr>
          <a:xfrm>
            <a:off x="2212923" y="4720745"/>
            <a:ext cx="628650" cy="303212"/>
          </a:xfrm>
          <a:prstGeom prst="rightArrow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0000" bIns="90000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endParaRPr lang="it-IT" sz="1200" dirty="0">
              <a:solidFill>
                <a:srgbClr val="000000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19" name="TextBox 509"/>
          <p:cNvSpPr txBox="1"/>
          <p:nvPr/>
        </p:nvSpPr>
        <p:spPr>
          <a:xfrm>
            <a:off x="185755" y="4492155"/>
            <a:ext cx="2009775" cy="161583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lIns="0" tIns="0" rIns="0" bIns="0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50" b="1" dirty="0" err="1">
                <a:solidFill>
                  <a:srgbClr val="FFFFFF"/>
                </a:solidFill>
                <a:latin typeface="+mj-lt"/>
                <a:cs typeface="Calibri" panose="020F0502020204030204" pitchFamily="34" charset="0"/>
              </a:rPr>
              <a:t>Messi</a:t>
            </a:r>
            <a:r>
              <a:rPr lang="en-GB" sz="1050" b="1" dirty="0">
                <a:solidFill>
                  <a:srgbClr val="FFFFFF"/>
                </a:solidFill>
                <a:latin typeface="+mj-lt"/>
                <a:cs typeface="Calibri" panose="020F0502020204030204" pitchFamily="34" charset="0"/>
              </a:rPr>
              <a:t> </a:t>
            </a:r>
            <a:r>
              <a:rPr lang="en-GB" sz="1050" b="1" dirty="0" err="1">
                <a:solidFill>
                  <a:srgbClr val="FFFFFF"/>
                </a:solidFill>
                <a:latin typeface="+mj-lt"/>
                <a:cs typeface="Calibri" panose="020F0502020204030204" pitchFamily="34" charset="0"/>
              </a:rPr>
              <a:t>notificatori</a:t>
            </a:r>
            <a:endParaRPr lang="en-GB" sz="1050" b="1" dirty="0">
              <a:solidFill>
                <a:srgbClr val="FFFFFF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20" name="Rectangle 511"/>
          <p:cNvSpPr>
            <a:spLocks noChangeArrowheads="1"/>
          </p:cNvSpPr>
          <p:nvPr/>
        </p:nvSpPr>
        <p:spPr bwMode="auto">
          <a:xfrm>
            <a:off x="185755" y="4495336"/>
            <a:ext cx="2009775" cy="644525"/>
          </a:xfrm>
          <a:prstGeom prst="rect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 tIns="91440" bIns="91440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defTabSz="889000"/>
            <a:endParaRPr lang="en-US" sz="1200">
              <a:solidFill>
                <a:srgbClr val="0047A9"/>
              </a:solidFill>
              <a:latin typeface="+mj-lt"/>
              <a:cs typeface="Calibri" panose="020F0502020204030204" pitchFamily="34" charset="0"/>
            </a:endParaRPr>
          </a:p>
        </p:txBody>
      </p:sp>
      <p:grpSp>
        <p:nvGrpSpPr>
          <p:cNvPr id="121" name="Group 519"/>
          <p:cNvGrpSpPr>
            <a:grpSpLocks/>
          </p:cNvGrpSpPr>
          <p:nvPr/>
        </p:nvGrpSpPr>
        <p:grpSpPr bwMode="auto">
          <a:xfrm>
            <a:off x="468311" y="4715994"/>
            <a:ext cx="1323973" cy="486945"/>
            <a:chOff x="2060514" y="6263381"/>
            <a:chExt cx="1324173" cy="487171"/>
          </a:xfrm>
        </p:grpSpPr>
        <p:pic>
          <p:nvPicPr>
            <p:cNvPr id="122" name="clipart_miscellaneous_contracts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2629785" y="6263381"/>
              <a:ext cx="244495" cy="250028"/>
            </a:xfrm>
            <a:prstGeom prst="rect">
              <a:avLst/>
            </a:prstGeom>
            <a:solidFill>
              <a:srgbClr val="9C3328"/>
            </a:solidFill>
            <a:ln w="9525">
              <a:noFill/>
              <a:miter lim="800000"/>
              <a:headEnd/>
              <a:tailEnd/>
            </a:ln>
          </p:spPr>
        </p:pic>
        <p:sp>
          <p:nvSpPr>
            <p:cNvPr id="123" name="TextBox 518"/>
            <p:cNvSpPr txBox="1"/>
            <p:nvPr/>
          </p:nvSpPr>
          <p:spPr>
            <a:xfrm>
              <a:off x="2060514" y="6430146"/>
              <a:ext cx="1324173" cy="320406"/>
            </a:xfrm>
            <a:prstGeom prst="rect">
              <a:avLst/>
            </a:prstGeom>
            <a:noFill/>
          </p:spPr>
          <p:txBody>
            <a:bodyPr tIns="90000" bIns="90000">
              <a:sp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dirty="0" err="1">
                  <a:latin typeface="+mj-lt"/>
                  <a:cs typeface="Calibri" panose="020F0502020204030204" pitchFamily="34" charset="0"/>
                </a:rPr>
                <a:t>Cartelle</a:t>
              </a:r>
              <a:r>
                <a:rPr lang="en-GB" sz="900" dirty="0">
                  <a:latin typeface="+mj-lt"/>
                  <a:cs typeface="Calibri" panose="020F0502020204030204" pitchFamily="34" charset="0"/>
                </a:rPr>
                <a:t> </a:t>
              </a:r>
              <a:r>
                <a:rPr lang="en-GB" sz="900" dirty="0" err="1">
                  <a:latin typeface="+mj-lt"/>
                  <a:cs typeface="Calibri" panose="020F0502020204030204" pitchFamily="34" charset="0"/>
                </a:rPr>
                <a:t>esattoriali</a:t>
              </a:r>
              <a:endParaRPr lang="en-GB" sz="900" dirty="0">
                <a:latin typeface="+mj-lt"/>
                <a:cs typeface="Calibri" panose="020F0502020204030204" pitchFamily="34" charset="0"/>
              </a:endParaRPr>
            </a:p>
          </p:txBody>
        </p:sp>
      </p:grpSp>
      <p:pic>
        <p:nvPicPr>
          <p:cNvPr id="124" name="Picture 4" descr="http://www.vanswingthing.com/images/icons/Mailman.jpg"/>
          <p:cNvPicPr>
            <a:picLocks noChangeAspect="1" noChangeArrowheads="1"/>
          </p:cNvPicPr>
          <p:nvPr/>
        </p:nvPicPr>
        <p:blipFill>
          <a:blip r:embed="rId14" cstate="print"/>
          <a:srcRect l="17456" r="19510"/>
          <a:stretch>
            <a:fillRect/>
          </a:stretch>
        </p:blipFill>
        <p:spPr bwMode="auto">
          <a:xfrm>
            <a:off x="2351037" y="2814178"/>
            <a:ext cx="295276" cy="506413"/>
          </a:xfrm>
          <a:prstGeom prst="rect">
            <a:avLst/>
          </a:prstGeom>
          <a:noFill/>
          <a:ln w="9525">
            <a:solidFill>
              <a:srgbClr val="B2B2B2"/>
            </a:solidFill>
            <a:miter lim="800000"/>
            <a:headEnd/>
            <a:tailEnd/>
          </a:ln>
        </p:spPr>
      </p:pic>
      <p:pic>
        <p:nvPicPr>
          <p:cNvPr id="125" name="Picture 4" descr="http://www.ocbf.ca/2012/sites/default/files/img/chrishome/mail.jpg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2311348" y="4662007"/>
            <a:ext cx="295276" cy="376238"/>
          </a:xfrm>
          <a:prstGeom prst="rect">
            <a:avLst/>
          </a:prstGeom>
          <a:noFill/>
          <a:ln w="9525">
            <a:solidFill>
              <a:schemeClr val="tx1">
                <a:lumMod val="60000"/>
                <a:lumOff val="40000"/>
              </a:schemeClr>
            </a:solidFill>
            <a:miter lim="800000"/>
            <a:headEnd/>
            <a:tailEnd/>
          </a:ln>
        </p:spPr>
      </p:pic>
      <p:sp>
        <p:nvSpPr>
          <p:cNvPr id="127" name="Rectangle 522"/>
          <p:cNvSpPr>
            <a:spLocks noChangeArrowheads="1"/>
          </p:cNvSpPr>
          <p:nvPr/>
        </p:nvSpPr>
        <p:spPr bwMode="auto">
          <a:xfrm>
            <a:off x="4738391" y="2364915"/>
            <a:ext cx="2009155" cy="323165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r>
              <a:rPr lang="en-GB" sz="1050" b="1" dirty="0">
                <a:solidFill>
                  <a:srgbClr val="FFFFFF"/>
                </a:solidFill>
                <a:latin typeface="+mj-lt"/>
                <a:cs typeface="Calibri" panose="020F0502020204030204" pitchFamily="34" charset="0"/>
              </a:rPr>
              <a:t>Rete di base</a:t>
            </a:r>
          </a:p>
          <a:p>
            <a:pPr algn="ctr"/>
            <a:r>
              <a:rPr lang="en-GB" sz="1050" b="1" dirty="0">
                <a:solidFill>
                  <a:srgbClr val="FFFFFF"/>
                </a:solidFill>
                <a:latin typeface="+mj-lt"/>
                <a:cs typeface="Calibri" panose="020F0502020204030204" pitchFamily="34" charset="0"/>
              </a:rPr>
              <a:t>(</a:t>
            </a:r>
            <a:r>
              <a:rPr lang="en-GB" sz="1050" b="1" dirty="0" err="1">
                <a:solidFill>
                  <a:srgbClr val="FFFFFF"/>
                </a:solidFill>
                <a:latin typeface="+mj-lt"/>
                <a:cs typeface="Calibri" panose="020F0502020204030204" pitchFamily="34" charset="0"/>
              </a:rPr>
              <a:t>recapito</a:t>
            </a:r>
            <a:r>
              <a:rPr lang="en-GB" sz="1050" b="1" dirty="0">
                <a:solidFill>
                  <a:srgbClr val="FFFFFF"/>
                </a:solidFill>
                <a:latin typeface="+mj-lt"/>
                <a:cs typeface="Calibri" panose="020F0502020204030204" pitchFamily="34" charset="0"/>
              </a:rPr>
              <a:t> </a:t>
            </a:r>
            <a:r>
              <a:rPr lang="en-GB" sz="1050" b="1" dirty="0" err="1">
                <a:solidFill>
                  <a:srgbClr val="FFFFFF"/>
                </a:solidFill>
                <a:latin typeface="+mj-lt"/>
                <a:cs typeface="Calibri" panose="020F0502020204030204" pitchFamily="34" charset="0"/>
              </a:rPr>
              <a:t>quotidiano</a:t>
            </a:r>
            <a:r>
              <a:rPr lang="en-GB" sz="1050" b="1" dirty="0">
                <a:solidFill>
                  <a:srgbClr val="FFFFFF"/>
                </a:solidFill>
                <a:latin typeface="+mj-lt"/>
                <a:cs typeface="Calibri" panose="020F0502020204030204" pitchFamily="34" charset="0"/>
              </a:rPr>
              <a:t>)</a:t>
            </a:r>
          </a:p>
        </p:txBody>
      </p:sp>
      <p:grpSp>
        <p:nvGrpSpPr>
          <p:cNvPr id="128" name="Group 525"/>
          <p:cNvGrpSpPr>
            <a:grpSpLocks/>
          </p:cNvGrpSpPr>
          <p:nvPr/>
        </p:nvGrpSpPr>
        <p:grpSpPr bwMode="auto">
          <a:xfrm>
            <a:off x="5368625" y="2777277"/>
            <a:ext cx="704850" cy="345006"/>
            <a:chOff x="674263" y="2211573"/>
            <a:chExt cx="754062" cy="374554"/>
          </a:xfrm>
        </p:grpSpPr>
        <p:grpSp>
          <p:nvGrpSpPr>
            <p:cNvPr id="138" name="Group 64"/>
            <p:cNvGrpSpPr>
              <a:grpSpLocks/>
            </p:cNvGrpSpPr>
            <p:nvPr/>
          </p:nvGrpSpPr>
          <p:grpSpPr bwMode="auto">
            <a:xfrm>
              <a:off x="825412" y="2211573"/>
              <a:ext cx="462786" cy="327241"/>
              <a:chOff x="1394396" y="4584584"/>
              <a:chExt cx="995605" cy="720000"/>
            </a:xfrm>
          </p:grpSpPr>
          <p:pic>
            <p:nvPicPr>
              <p:cNvPr id="140" name="Picture 541" descr="mail_ap_icon.png"/>
              <p:cNvPicPr>
                <a:picLocks noChangeAspect="1"/>
              </p:cNvPicPr>
              <p:nvPr/>
            </p:nvPicPr>
            <p:blipFill>
              <a:blip r:embed="rId10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670001" y="4584584"/>
                <a:ext cx="720000" cy="72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141" name="Straight Connector 542"/>
              <p:cNvCxnSpPr/>
              <p:nvPr/>
            </p:nvCxnSpPr>
            <p:spPr>
              <a:xfrm flipH="1">
                <a:off x="1394396" y="4823793"/>
                <a:ext cx="361715" cy="0"/>
              </a:xfrm>
              <a:prstGeom prst="line">
                <a:avLst/>
              </a:prstGeom>
              <a:ln w="57150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543"/>
              <p:cNvCxnSpPr/>
              <p:nvPr/>
            </p:nvCxnSpPr>
            <p:spPr>
              <a:xfrm flipH="1">
                <a:off x="1467469" y="4941346"/>
                <a:ext cx="288642" cy="0"/>
              </a:xfrm>
              <a:prstGeom prst="line">
                <a:avLst/>
              </a:prstGeom>
              <a:ln w="57150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544"/>
              <p:cNvCxnSpPr/>
              <p:nvPr/>
            </p:nvCxnSpPr>
            <p:spPr>
              <a:xfrm flipH="1">
                <a:off x="1536890" y="5055106"/>
                <a:ext cx="219221" cy="0"/>
              </a:xfrm>
              <a:prstGeom prst="line">
                <a:avLst/>
              </a:prstGeom>
              <a:ln w="57150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9" name="TextBox 540"/>
            <p:cNvSpPr txBox="1"/>
            <p:nvPr/>
          </p:nvSpPr>
          <p:spPr>
            <a:xfrm>
              <a:off x="674263" y="2435766"/>
              <a:ext cx="754062" cy="150361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dirty="0" err="1">
                  <a:latin typeface="+mj-lt"/>
                  <a:cs typeface="Calibri" panose="020F0502020204030204" pitchFamily="34" charset="0"/>
                </a:rPr>
                <a:t>Prioritaria</a:t>
              </a:r>
              <a:endParaRPr lang="en-GB" sz="900" dirty="0">
                <a:latin typeface="+mj-lt"/>
                <a:cs typeface="Calibri" panose="020F0502020204030204" pitchFamily="34" charset="0"/>
              </a:endParaRPr>
            </a:p>
          </p:txBody>
        </p:sp>
      </p:grpSp>
      <p:pic>
        <p:nvPicPr>
          <p:cNvPr id="130" name="Picture 4" descr="https://www.auspostbrand.com.au/media/17555/mail_ap_icon.png"/>
          <p:cNvPicPr>
            <a:picLocks noChangeAspect="1" noChangeArrowheads="1"/>
          </p:cNvPicPr>
          <p:nvPr/>
        </p:nvPicPr>
        <p:blipFill>
          <a:blip r:embed="rId10" cstate="print"/>
          <a:srcRect l="13157" t="23954" r="13077" b="24618"/>
          <a:stretch>
            <a:fillRect/>
          </a:stretch>
        </p:blipFill>
        <p:spPr bwMode="auto">
          <a:xfrm>
            <a:off x="4927112" y="2756668"/>
            <a:ext cx="266700" cy="155575"/>
          </a:xfrm>
          <a:prstGeom prst="rect">
            <a:avLst/>
          </a:prstGeom>
          <a:solidFill>
            <a:schemeClr val="accent3"/>
          </a:solidFill>
        </p:spPr>
      </p:pic>
      <p:sp>
        <p:nvSpPr>
          <p:cNvPr id="131" name="TextBox 529"/>
          <p:cNvSpPr txBox="1"/>
          <p:nvPr/>
        </p:nvSpPr>
        <p:spPr bwMode="auto">
          <a:xfrm>
            <a:off x="4733503" y="2900995"/>
            <a:ext cx="604838" cy="320257"/>
          </a:xfrm>
          <a:prstGeom prst="rect">
            <a:avLst/>
          </a:prstGeom>
          <a:noFill/>
        </p:spPr>
        <p:txBody>
          <a:bodyPr tIns="90000" bIns="90000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 err="1">
                <a:latin typeface="+mj-lt"/>
                <a:cs typeface="Calibri" panose="020F0502020204030204" pitchFamily="34" charset="0"/>
              </a:rPr>
              <a:t>Massiva</a:t>
            </a:r>
            <a:endParaRPr lang="en-GB" sz="900" dirty="0">
              <a:latin typeface="+mj-lt"/>
              <a:cs typeface="Calibri" panose="020F0502020204030204" pitchFamily="34" charset="0"/>
            </a:endParaRPr>
          </a:p>
        </p:txBody>
      </p:sp>
      <p:pic>
        <p:nvPicPr>
          <p:cNvPr id="132" name="Picture 4" descr="https://www.auspostbrand.com.au/media/17555/mail_ap_icon.png"/>
          <p:cNvPicPr>
            <a:picLocks noChangeAspect="1" noChangeArrowheads="1"/>
          </p:cNvPicPr>
          <p:nvPr/>
        </p:nvPicPr>
        <p:blipFill>
          <a:blip r:embed="rId10" cstate="print"/>
          <a:srcRect l="13157" t="23954" r="13077" b="24618"/>
          <a:stretch>
            <a:fillRect/>
          </a:stretch>
        </p:blipFill>
        <p:spPr bwMode="auto">
          <a:xfrm>
            <a:off x="4914476" y="2812096"/>
            <a:ext cx="266700" cy="155575"/>
          </a:xfrm>
          <a:prstGeom prst="rect">
            <a:avLst/>
          </a:prstGeom>
          <a:solidFill>
            <a:schemeClr val="accent3"/>
          </a:solidFill>
        </p:spPr>
      </p:pic>
      <p:sp>
        <p:nvSpPr>
          <p:cNvPr id="133" name="TextBox 531"/>
          <p:cNvSpPr txBox="1"/>
          <p:nvPr/>
        </p:nvSpPr>
        <p:spPr bwMode="auto">
          <a:xfrm>
            <a:off x="5923646" y="2955362"/>
            <a:ext cx="871538" cy="323163"/>
          </a:xfrm>
          <a:prstGeom prst="rect">
            <a:avLst/>
          </a:prstGeom>
          <a:noFill/>
        </p:spPr>
        <p:txBody>
          <a:bodyPr lIns="0" tIns="91439" rIns="0" bIns="91439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 err="1">
                <a:latin typeface="+mj-lt"/>
                <a:cs typeface="Calibri" panose="020F0502020204030204" pitchFamily="34" charset="0"/>
              </a:rPr>
              <a:t>Editoria</a:t>
            </a:r>
            <a:r>
              <a:rPr lang="en-GB" sz="900" dirty="0">
                <a:latin typeface="+mj-lt"/>
                <a:cs typeface="Calibri" panose="020F0502020204030204" pitchFamily="34" charset="0"/>
              </a:rPr>
              <a:t> e DM</a:t>
            </a:r>
          </a:p>
        </p:txBody>
      </p:sp>
      <p:grpSp>
        <p:nvGrpSpPr>
          <p:cNvPr id="134" name="Group 532"/>
          <p:cNvGrpSpPr>
            <a:grpSpLocks/>
          </p:cNvGrpSpPr>
          <p:nvPr/>
        </p:nvGrpSpPr>
        <p:grpSpPr bwMode="auto">
          <a:xfrm>
            <a:off x="6093581" y="2799313"/>
            <a:ext cx="453105" cy="275988"/>
            <a:chOff x="891360" y="2773316"/>
            <a:chExt cx="561295" cy="330846"/>
          </a:xfrm>
        </p:grpSpPr>
        <p:pic>
          <p:nvPicPr>
            <p:cNvPr id="136" name="Picture 534" descr="mail_ap_icon.png"/>
            <p:cNvPicPr>
              <a:picLocks noChangeAspect="1"/>
            </p:cNvPicPr>
            <p:nvPr/>
          </p:nvPicPr>
          <p:blipFill>
            <a:blip r:embed="rId1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102418" y="2773316"/>
              <a:ext cx="350237" cy="3308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7" name="Picture 7" descr="http://www.ergonotec.it/images/carrello.gif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891360" y="2807618"/>
              <a:ext cx="264978" cy="228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35" name="Rectangle 533"/>
          <p:cNvSpPr>
            <a:spLocks noChangeArrowheads="1"/>
          </p:cNvSpPr>
          <p:nvPr/>
        </p:nvSpPr>
        <p:spPr bwMode="auto">
          <a:xfrm>
            <a:off x="4738391" y="2375279"/>
            <a:ext cx="2009155" cy="1622137"/>
          </a:xfrm>
          <a:prstGeom prst="rect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 tIns="91440" bIns="91440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defTabSz="889000"/>
            <a:endParaRPr lang="en-US" sz="1200">
              <a:solidFill>
                <a:srgbClr val="0047A9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44" name="Right Arrow 547"/>
          <p:cNvSpPr/>
          <p:nvPr/>
        </p:nvSpPr>
        <p:spPr>
          <a:xfrm>
            <a:off x="6811527" y="2923695"/>
            <a:ext cx="628650" cy="303212"/>
          </a:xfrm>
          <a:prstGeom prst="rightArrow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0000" bIns="90000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endParaRPr lang="it-IT" sz="1200" dirty="0">
              <a:solidFill>
                <a:srgbClr val="000000"/>
              </a:solidFill>
              <a:latin typeface="+mj-lt"/>
              <a:cs typeface="Calibri" panose="020F0502020204030204" pitchFamily="34" charset="0"/>
            </a:endParaRPr>
          </a:p>
        </p:txBody>
      </p:sp>
      <p:pic>
        <p:nvPicPr>
          <p:cNvPr id="145" name="Picture 4" descr="http://www.vanswingthing.com/images/icons/Mailman.jpg"/>
          <p:cNvPicPr>
            <a:picLocks noChangeAspect="1" noChangeArrowheads="1"/>
          </p:cNvPicPr>
          <p:nvPr/>
        </p:nvPicPr>
        <p:blipFill>
          <a:blip r:embed="rId14" cstate="print"/>
          <a:srcRect l="17456" r="19510"/>
          <a:stretch>
            <a:fillRect/>
          </a:stretch>
        </p:blipFill>
        <p:spPr bwMode="auto">
          <a:xfrm>
            <a:off x="6938529" y="2814178"/>
            <a:ext cx="295276" cy="506413"/>
          </a:xfrm>
          <a:prstGeom prst="rect">
            <a:avLst/>
          </a:prstGeom>
          <a:noFill/>
          <a:ln w="9525">
            <a:solidFill>
              <a:srgbClr val="B2B2B2"/>
            </a:solidFill>
            <a:miter lim="800000"/>
            <a:headEnd/>
            <a:tailEnd/>
          </a:ln>
        </p:spPr>
      </p:pic>
      <p:sp>
        <p:nvSpPr>
          <p:cNvPr id="146" name="Right Arrow 561"/>
          <p:cNvSpPr/>
          <p:nvPr/>
        </p:nvSpPr>
        <p:spPr>
          <a:xfrm>
            <a:off x="6811527" y="4245969"/>
            <a:ext cx="628650" cy="303212"/>
          </a:xfrm>
          <a:prstGeom prst="rightArrow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0000" bIns="90000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endParaRPr lang="it-IT" sz="1200" dirty="0">
              <a:solidFill>
                <a:srgbClr val="000000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54" name="TextBox 550"/>
          <p:cNvSpPr txBox="1"/>
          <p:nvPr/>
        </p:nvSpPr>
        <p:spPr bwMode="auto">
          <a:xfrm>
            <a:off x="4733445" y="4094046"/>
            <a:ext cx="2009773" cy="307777"/>
          </a:xfrm>
          <a:prstGeom prst="rect">
            <a:avLst/>
          </a:prstGeom>
          <a:solidFill>
            <a:srgbClr val="F4E601"/>
          </a:solidFill>
          <a:ln>
            <a:solidFill>
              <a:srgbClr val="F4E601"/>
            </a:solidFill>
          </a:ln>
        </p:spPr>
        <p:txBody>
          <a:bodyPr lIns="0" tIns="0" rIns="0" bIns="0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0" b="1" dirty="0">
                <a:solidFill>
                  <a:srgbClr val="706F6F"/>
                </a:solidFill>
                <a:latin typeface="+mj-lt"/>
                <a:cs typeface="Calibri" panose="020F0502020204030204" pitchFamily="34" charset="0"/>
              </a:rPr>
              <a:t>Linea Business </a:t>
            </a:r>
          </a:p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0" b="1" dirty="0">
                <a:solidFill>
                  <a:srgbClr val="706F6F"/>
                </a:solidFill>
                <a:latin typeface="+mj-lt"/>
                <a:cs typeface="Calibri" panose="020F0502020204030204" pitchFamily="34" charset="0"/>
              </a:rPr>
              <a:t>(</a:t>
            </a:r>
            <a:r>
              <a:rPr lang="en-GB" sz="1000" b="1" dirty="0" err="1">
                <a:solidFill>
                  <a:srgbClr val="706F6F"/>
                </a:solidFill>
                <a:latin typeface="+mj-lt"/>
                <a:cs typeface="Calibri" panose="020F0502020204030204" pitchFamily="34" charset="0"/>
              </a:rPr>
              <a:t>recapito</a:t>
            </a:r>
            <a:r>
              <a:rPr lang="en-GB" sz="1000" b="1" dirty="0">
                <a:solidFill>
                  <a:srgbClr val="706F6F"/>
                </a:solidFill>
                <a:latin typeface="+mj-lt"/>
                <a:cs typeface="Calibri" panose="020F0502020204030204" pitchFamily="34" charset="0"/>
              </a:rPr>
              <a:t> </a:t>
            </a:r>
            <a:r>
              <a:rPr lang="en-GB" sz="1000" b="1" dirty="0" err="1">
                <a:solidFill>
                  <a:srgbClr val="706F6F"/>
                </a:solidFill>
                <a:latin typeface="+mj-lt"/>
                <a:cs typeface="Calibri" panose="020F0502020204030204" pitchFamily="34" charset="0"/>
              </a:rPr>
              <a:t>quotidiano</a:t>
            </a:r>
            <a:r>
              <a:rPr lang="en-GB" sz="1000" b="1" dirty="0">
                <a:solidFill>
                  <a:srgbClr val="706F6F"/>
                </a:solidFill>
                <a:latin typeface="+mj-lt"/>
                <a:cs typeface="Calibri" panose="020F0502020204030204" pitchFamily="34" charset="0"/>
              </a:rPr>
              <a:t>)</a:t>
            </a:r>
          </a:p>
        </p:txBody>
      </p:sp>
      <p:pic>
        <p:nvPicPr>
          <p:cNvPr id="157" name="Picture 4" descr="https://www.auspostbrand.com.au/media/17555/mail_ap_icon.png"/>
          <p:cNvPicPr>
            <a:picLocks noChangeAspect="1" noChangeArrowheads="1"/>
          </p:cNvPicPr>
          <p:nvPr/>
        </p:nvPicPr>
        <p:blipFill>
          <a:blip r:embed="rId10" cstate="print"/>
          <a:srcRect l="13157" t="23954" r="13077" b="24618"/>
          <a:stretch>
            <a:fillRect/>
          </a:stretch>
        </p:blipFill>
        <p:spPr bwMode="auto">
          <a:xfrm>
            <a:off x="5060468" y="4549652"/>
            <a:ext cx="242887" cy="193366"/>
          </a:xfrm>
          <a:prstGeom prst="rect">
            <a:avLst/>
          </a:prstGeom>
          <a:solidFill>
            <a:schemeClr val="accent3"/>
          </a:solidFill>
        </p:spPr>
      </p:pic>
      <p:sp>
        <p:nvSpPr>
          <p:cNvPr id="158" name="TextBox 554"/>
          <p:cNvSpPr txBox="1"/>
          <p:nvPr/>
        </p:nvSpPr>
        <p:spPr bwMode="auto">
          <a:xfrm>
            <a:off x="4800113" y="4648087"/>
            <a:ext cx="715962" cy="320257"/>
          </a:xfrm>
          <a:prstGeom prst="rect">
            <a:avLst/>
          </a:prstGeom>
          <a:noFill/>
        </p:spPr>
        <p:txBody>
          <a:bodyPr tIns="90000" bIns="90000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 err="1">
                <a:latin typeface="+mj-lt"/>
                <a:cs typeface="Calibri" panose="020F0502020204030204" pitchFamily="34" charset="0"/>
              </a:rPr>
              <a:t>Registrata</a:t>
            </a:r>
            <a:endParaRPr lang="en-GB" sz="900" dirty="0">
              <a:latin typeface="+mj-lt"/>
              <a:cs typeface="Calibri" panose="020F0502020204030204" pitchFamily="34" charset="0"/>
            </a:endParaRPr>
          </a:p>
        </p:txBody>
      </p:sp>
      <p:pic>
        <p:nvPicPr>
          <p:cNvPr id="159" name="clipart_icons_lockLocked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101466" y="4491585"/>
            <a:ext cx="159423" cy="206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0" name="Picture 3" descr="C:\Users\Vijayakumar Shruthi\AppData\Local\Microsoft\Windows\Temporary Internet Files\Content.Outlook\GVZR9D97\parcel_ap_icon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537604" y="4463054"/>
            <a:ext cx="300382" cy="3709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1" name="TextBox 557"/>
          <p:cNvSpPr txBox="1"/>
          <p:nvPr/>
        </p:nvSpPr>
        <p:spPr bwMode="auto">
          <a:xfrm>
            <a:off x="5446222" y="4665548"/>
            <a:ext cx="601866" cy="320257"/>
          </a:xfrm>
          <a:prstGeom prst="rect">
            <a:avLst/>
          </a:prstGeom>
          <a:noFill/>
        </p:spPr>
        <p:txBody>
          <a:bodyPr wrap="square" tIns="90000" bIns="90000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 err="1">
                <a:latin typeface="+mj-lt"/>
                <a:cs typeface="Calibri" panose="020F0502020204030204" pitchFamily="34" charset="0"/>
              </a:rPr>
              <a:t>Pacchi</a:t>
            </a:r>
            <a:endParaRPr lang="en-GB" sz="900" dirty="0">
              <a:latin typeface="+mj-lt"/>
              <a:cs typeface="Calibri" panose="020F0502020204030204" pitchFamily="34" charset="0"/>
            </a:endParaRPr>
          </a:p>
        </p:txBody>
      </p:sp>
      <p:pic>
        <p:nvPicPr>
          <p:cNvPr id="227" name="Picture 4" descr="https://www.auspostbrand.com.au/media/17555/mail_ap_icon.png"/>
          <p:cNvPicPr>
            <a:picLocks noChangeAspect="1" noChangeArrowheads="1"/>
          </p:cNvPicPr>
          <p:nvPr/>
        </p:nvPicPr>
        <p:blipFill>
          <a:blip r:embed="rId10" cstate="print"/>
          <a:srcRect l="13157" t="23954" r="13077" b="24618"/>
          <a:stretch>
            <a:fillRect/>
          </a:stretch>
        </p:blipFill>
        <p:spPr bwMode="auto">
          <a:xfrm>
            <a:off x="4979497" y="3425342"/>
            <a:ext cx="242887" cy="168275"/>
          </a:xfrm>
          <a:prstGeom prst="rect">
            <a:avLst/>
          </a:prstGeom>
          <a:solidFill>
            <a:schemeClr val="accent3"/>
          </a:solidFill>
        </p:spPr>
      </p:pic>
      <p:sp>
        <p:nvSpPr>
          <p:cNvPr id="231" name="TextBox 554"/>
          <p:cNvSpPr txBox="1"/>
          <p:nvPr/>
        </p:nvSpPr>
        <p:spPr bwMode="auto">
          <a:xfrm>
            <a:off x="4719142" y="3523765"/>
            <a:ext cx="715962" cy="320257"/>
          </a:xfrm>
          <a:prstGeom prst="rect">
            <a:avLst/>
          </a:prstGeom>
          <a:noFill/>
        </p:spPr>
        <p:txBody>
          <a:bodyPr tIns="90000" bIns="90000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 err="1">
                <a:latin typeface="+mj-lt"/>
                <a:cs typeface="Calibri" panose="020F0502020204030204" pitchFamily="34" charset="0"/>
              </a:rPr>
              <a:t>Registrata</a:t>
            </a:r>
            <a:endParaRPr lang="en-GB" sz="900" dirty="0">
              <a:latin typeface="+mj-lt"/>
              <a:cs typeface="Calibri" panose="020F0502020204030204" pitchFamily="34" charset="0"/>
            </a:endParaRPr>
          </a:p>
        </p:txBody>
      </p:sp>
      <p:pic>
        <p:nvPicPr>
          <p:cNvPr id="232" name="Picture 3" descr="C:\Users\Vijayakumar Shruthi\AppData\Local\Microsoft\Windows\Temporary Internet Files\Content.Outlook\GVZR9D97\parcel_ap_icon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492712" y="3340166"/>
            <a:ext cx="300382" cy="322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3" name="TextBox 557"/>
          <p:cNvSpPr txBox="1"/>
          <p:nvPr/>
        </p:nvSpPr>
        <p:spPr bwMode="auto">
          <a:xfrm>
            <a:off x="5401332" y="3542647"/>
            <a:ext cx="601866" cy="320257"/>
          </a:xfrm>
          <a:prstGeom prst="rect">
            <a:avLst/>
          </a:prstGeom>
          <a:noFill/>
        </p:spPr>
        <p:txBody>
          <a:bodyPr wrap="square" tIns="90000" bIns="90000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 err="1">
                <a:latin typeface="+mj-lt"/>
                <a:cs typeface="Calibri" panose="020F0502020204030204" pitchFamily="34" charset="0"/>
              </a:rPr>
              <a:t>Pacchi</a:t>
            </a:r>
            <a:endParaRPr lang="en-GB" sz="900" dirty="0"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56" name="Rectangle 552"/>
          <p:cNvSpPr>
            <a:spLocks noChangeArrowheads="1"/>
          </p:cNvSpPr>
          <p:nvPr/>
        </p:nvSpPr>
        <p:spPr bwMode="auto">
          <a:xfrm>
            <a:off x="4733445" y="4097039"/>
            <a:ext cx="2009029" cy="1321122"/>
          </a:xfrm>
          <a:prstGeom prst="rect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 tIns="91440" bIns="91440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defTabSz="889000"/>
            <a:endParaRPr lang="en-US" sz="1200">
              <a:solidFill>
                <a:srgbClr val="0047A9"/>
              </a:solidFill>
              <a:latin typeface="+mj-lt"/>
              <a:cs typeface="Calibri" panose="020F0502020204030204" pitchFamily="34" charset="0"/>
            </a:endParaRPr>
          </a:p>
        </p:txBody>
      </p:sp>
      <p:pic>
        <p:nvPicPr>
          <p:cNvPr id="152" name="clipart_miscellaneous_contracts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166401" y="4453742"/>
            <a:ext cx="219526" cy="241578"/>
          </a:xfrm>
          <a:prstGeom prst="rect">
            <a:avLst/>
          </a:prstGeom>
          <a:solidFill>
            <a:srgbClr val="9C3328"/>
          </a:solidFill>
          <a:ln w="9525">
            <a:noFill/>
            <a:miter lim="800000"/>
            <a:headEnd/>
            <a:tailEnd/>
          </a:ln>
        </p:spPr>
      </p:pic>
      <p:sp>
        <p:nvSpPr>
          <p:cNvPr id="153" name="TextBox 518"/>
          <p:cNvSpPr txBox="1"/>
          <p:nvPr/>
        </p:nvSpPr>
        <p:spPr bwMode="auto">
          <a:xfrm>
            <a:off x="5981656" y="4613172"/>
            <a:ext cx="942974" cy="458757"/>
          </a:xfrm>
          <a:prstGeom prst="rect">
            <a:avLst/>
          </a:prstGeom>
          <a:noFill/>
        </p:spPr>
        <p:txBody>
          <a:bodyPr tIns="90000" bIns="90000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 err="1">
                <a:latin typeface="+mj-lt"/>
                <a:cs typeface="Calibri" panose="020F0502020204030204" pitchFamily="34" charset="0"/>
              </a:rPr>
              <a:t>Cartelle</a:t>
            </a:r>
            <a:r>
              <a:rPr lang="en-GB" sz="900" dirty="0">
                <a:latin typeface="+mj-lt"/>
                <a:cs typeface="Calibri" panose="020F0502020204030204" pitchFamily="34" charset="0"/>
              </a:rPr>
              <a:t> </a:t>
            </a:r>
            <a:r>
              <a:rPr lang="en-GB" sz="900" dirty="0" err="1">
                <a:latin typeface="+mj-lt"/>
                <a:cs typeface="Calibri" panose="020F0502020204030204" pitchFamily="34" charset="0"/>
              </a:rPr>
              <a:t>esattoriali</a:t>
            </a:r>
            <a:endParaRPr lang="en-GB" sz="900" dirty="0">
              <a:latin typeface="+mj-lt"/>
              <a:cs typeface="Calibri" panose="020F0502020204030204" pitchFamily="34" charset="0"/>
            </a:endParaRPr>
          </a:p>
        </p:txBody>
      </p:sp>
      <p:grpSp>
        <p:nvGrpSpPr>
          <p:cNvPr id="162" name="Group 155"/>
          <p:cNvGrpSpPr>
            <a:grpSpLocks/>
          </p:cNvGrpSpPr>
          <p:nvPr/>
        </p:nvGrpSpPr>
        <p:grpSpPr bwMode="auto">
          <a:xfrm>
            <a:off x="2777752" y="2504254"/>
            <a:ext cx="1592264" cy="2451101"/>
            <a:chOff x="1981309" y="1865902"/>
            <a:chExt cx="1812424" cy="2871787"/>
          </a:xfrm>
        </p:grpSpPr>
        <p:sp>
          <p:nvSpPr>
            <p:cNvPr id="163" name="Freeform 31"/>
            <p:cNvSpPr>
              <a:spLocks/>
            </p:cNvSpPr>
            <p:nvPr/>
          </p:nvSpPr>
          <p:spPr bwMode="gray">
            <a:xfrm>
              <a:off x="2424415" y="2288177"/>
              <a:ext cx="476954" cy="665162"/>
            </a:xfrm>
            <a:custGeom>
              <a:avLst/>
              <a:gdLst>
                <a:gd name="T0" fmla="*/ 769 w 620"/>
                <a:gd name="T1" fmla="*/ 67469 h 838"/>
                <a:gd name="T2" fmla="*/ 5385 w 620"/>
                <a:gd name="T3" fmla="*/ 55562 h 838"/>
                <a:gd name="T4" fmla="*/ 11539 w 620"/>
                <a:gd name="T5" fmla="*/ 54769 h 838"/>
                <a:gd name="T6" fmla="*/ 15386 w 620"/>
                <a:gd name="T7" fmla="*/ 46037 h 838"/>
                <a:gd name="T8" fmla="*/ 35387 w 620"/>
                <a:gd name="T9" fmla="*/ 44450 h 838"/>
                <a:gd name="T10" fmla="*/ 30771 w 620"/>
                <a:gd name="T11" fmla="*/ 27781 h 838"/>
                <a:gd name="T12" fmla="*/ 41541 w 620"/>
                <a:gd name="T13" fmla="*/ 29369 h 838"/>
                <a:gd name="T14" fmla="*/ 43849 w 620"/>
                <a:gd name="T15" fmla="*/ 19050 h 838"/>
                <a:gd name="T16" fmla="*/ 32310 w 620"/>
                <a:gd name="T17" fmla="*/ 5556 h 838"/>
                <a:gd name="T18" fmla="*/ 43849 w 620"/>
                <a:gd name="T19" fmla="*/ 0 h 838"/>
                <a:gd name="T20" fmla="*/ 70774 w 620"/>
                <a:gd name="T21" fmla="*/ 7144 h 838"/>
                <a:gd name="T22" fmla="*/ 82313 w 620"/>
                <a:gd name="T23" fmla="*/ 19844 h 838"/>
                <a:gd name="T24" fmla="*/ 87698 w 620"/>
                <a:gd name="T25" fmla="*/ 13494 h 838"/>
                <a:gd name="T26" fmla="*/ 94622 w 620"/>
                <a:gd name="T27" fmla="*/ 19050 h 838"/>
                <a:gd name="T28" fmla="*/ 101545 w 620"/>
                <a:gd name="T29" fmla="*/ 15081 h 838"/>
                <a:gd name="T30" fmla="*/ 106930 w 620"/>
                <a:gd name="T31" fmla="*/ 26987 h 838"/>
                <a:gd name="T32" fmla="*/ 100776 w 620"/>
                <a:gd name="T33" fmla="*/ 41275 h 838"/>
                <a:gd name="T34" fmla="*/ 110776 w 620"/>
                <a:gd name="T35" fmla="*/ 52387 h 838"/>
                <a:gd name="T36" fmla="*/ 119239 w 620"/>
                <a:gd name="T37" fmla="*/ 82550 h 838"/>
                <a:gd name="T38" fmla="*/ 114623 w 620"/>
                <a:gd name="T39" fmla="*/ 115887 h 838"/>
                <a:gd name="T40" fmla="*/ 103853 w 620"/>
                <a:gd name="T41" fmla="*/ 116681 h 838"/>
                <a:gd name="T42" fmla="*/ 97699 w 620"/>
                <a:gd name="T43" fmla="*/ 124619 h 838"/>
                <a:gd name="T44" fmla="*/ 83852 w 620"/>
                <a:gd name="T45" fmla="*/ 123031 h 838"/>
                <a:gd name="T46" fmla="*/ 72312 w 620"/>
                <a:gd name="T47" fmla="*/ 134144 h 838"/>
                <a:gd name="T48" fmla="*/ 75389 w 620"/>
                <a:gd name="T49" fmla="*/ 149225 h 838"/>
                <a:gd name="T50" fmla="*/ 53080 w 620"/>
                <a:gd name="T51" fmla="*/ 153194 h 838"/>
                <a:gd name="T52" fmla="*/ 43849 w 620"/>
                <a:gd name="T53" fmla="*/ 166687 h 838"/>
                <a:gd name="T54" fmla="*/ 33848 w 620"/>
                <a:gd name="T55" fmla="*/ 165894 h 838"/>
                <a:gd name="T56" fmla="*/ 36156 w 620"/>
                <a:gd name="T57" fmla="*/ 135731 h 838"/>
                <a:gd name="T58" fmla="*/ 26156 w 620"/>
                <a:gd name="T59" fmla="*/ 122237 h 838"/>
                <a:gd name="T60" fmla="*/ 30002 w 620"/>
                <a:gd name="T61" fmla="*/ 118269 h 838"/>
                <a:gd name="T62" fmla="*/ 23848 w 620"/>
                <a:gd name="T63" fmla="*/ 109537 h 838"/>
                <a:gd name="T64" fmla="*/ 34618 w 620"/>
                <a:gd name="T65" fmla="*/ 97631 h 838"/>
                <a:gd name="T66" fmla="*/ 26925 w 620"/>
                <a:gd name="T67" fmla="*/ 95250 h 838"/>
                <a:gd name="T68" fmla="*/ 30002 w 620"/>
                <a:gd name="T69" fmla="*/ 85725 h 838"/>
                <a:gd name="T70" fmla="*/ 19232 w 620"/>
                <a:gd name="T71" fmla="*/ 69056 h 838"/>
                <a:gd name="T72" fmla="*/ 0 w 620"/>
                <a:gd name="T73" fmla="*/ 67469 h 838"/>
                <a:gd name="T74" fmla="*/ 769 w 620"/>
                <a:gd name="T75" fmla="*/ 67469 h 83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620"/>
                <a:gd name="T115" fmla="*/ 0 h 838"/>
                <a:gd name="T116" fmla="*/ 620 w 620"/>
                <a:gd name="T117" fmla="*/ 838 h 83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620" h="838">
                  <a:moveTo>
                    <a:pt x="1" y="338"/>
                  </a:moveTo>
                  <a:lnTo>
                    <a:pt x="30" y="278"/>
                  </a:lnTo>
                  <a:lnTo>
                    <a:pt x="63" y="276"/>
                  </a:lnTo>
                  <a:lnTo>
                    <a:pt x="82" y="232"/>
                  </a:lnTo>
                  <a:lnTo>
                    <a:pt x="184" y="224"/>
                  </a:lnTo>
                  <a:lnTo>
                    <a:pt x="163" y="140"/>
                  </a:lnTo>
                  <a:lnTo>
                    <a:pt x="218" y="148"/>
                  </a:lnTo>
                  <a:lnTo>
                    <a:pt x="228" y="94"/>
                  </a:lnTo>
                  <a:lnTo>
                    <a:pt x="170" y="29"/>
                  </a:lnTo>
                  <a:lnTo>
                    <a:pt x="228" y="0"/>
                  </a:lnTo>
                  <a:lnTo>
                    <a:pt x="370" y="34"/>
                  </a:lnTo>
                  <a:lnTo>
                    <a:pt x="428" y="100"/>
                  </a:lnTo>
                  <a:lnTo>
                    <a:pt x="458" y="65"/>
                  </a:lnTo>
                  <a:lnTo>
                    <a:pt x="493" y="94"/>
                  </a:lnTo>
                  <a:lnTo>
                    <a:pt x="525" y="75"/>
                  </a:lnTo>
                  <a:lnTo>
                    <a:pt x="554" y="136"/>
                  </a:lnTo>
                  <a:lnTo>
                    <a:pt x="522" y="209"/>
                  </a:lnTo>
                  <a:lnTo>
                    <a:pt x="575" y="261"/>
                  </a:lnTo>
                  <a:lnTo>
                    <a:pt x="620" y="416"/>
                  </a:lnTo>
                  <a:lnTo>
                    <a:pt x="593" y="583"/>
                  </a:lnTo>
                  <a:lnTo>
                    <a:pt x="537" y="585"/>
                  </a:lnTo>
                  <a:lnTo>
                    <a:pt x="510" y="627"/>
                  </a:lnTo>
                  <a:lnTo>
                    <a:pt x="439" y="620"/>
                  </a:lnTo>
                  <a:lnTo>
                    <a:pt x="376" y="673"/>
                  </a:lnTo>
                  <a:lnTo>
                    <a:pt x="395" y="750"/>
                  </a:lnTo>
                  <a:lnTo>
                    <a:pt x="274" y="771"/>
                  </a:lnTo>
                  <a:lnTo>
                    <a:pt x="228" y="838"/>
                  </a:lnTo>
                  <a:lnTo>
                    <a:pt x="178" y="836"/>
                  </a:lnTo>
                  <a:lnTo>
                    <a:pt x="191" y="683"/>
                  </a:lnTo>
                  <a:lnTo>
                    <a:pt x="134" y="616"/>
                  </a:lnTo>
                  <a:lnTo>
                    <a:pt x="157" y="593"/>
                  </a:lnTo>
                  <a:lnTo>
                    <a:pt x="126" y="551"/>
                  </a:lnTo>
                  <a:lnTo>
                    <a:pt x="182" y="495"/>
                  </a:lnTo>
                  <a:lnTo>
                    <a:pt x="138" y="480"/>
                  </a:lnTo>
                  <a:lnTo>
                    <a:pt x="157" y="435"/>
                  </a:lnTo>
                  <a:lnTo>
                    <a:pt x="103" y="347"/>
                  </a:lnTo>
                  <a:lnTo>
                    <a:pt x="0" y="339"/>
                  </a:lnTo>
                  <a:lnTo>
                    <a:pt x="1" y="338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64" name="Freeform 32"/>
            <p:cNvSpPr>
              <a:spLocks/>
            </p:cNvSpPr>
            <p:nvPr/>
          </p:nvSpPr>
          <p:spPr bwMode="gray">
            <a:xfrm>
              <a:off x="3261391" y="2067514"/>
              <a:ext cx="532342" cy="622300"/>
            </a:xfrm>
            <a:custGeom>
              <a:avLst/>
              <a:gdLst>
                <a:gd name="T0" fmla="*/ 3073 w 693"/>
                <a:gd name="T1" fmla="*/ 95921 h 785"/>
                <a:gd name="T2" fmla="*/ 6145 w 693"/>
                <a:gd name="T3" fmla="*/ 108605 h 785"/>
                <a:gd name="T4" fmla="*/ 15363 w 693"/>
                <a:gd name="T5" fmla="*/ 113362 h 785"/>
                <a:gd name="T6" fmla="*/ 13059 w 693"/>
                <a:gd name="T7" fmla="*/ 120496 h 785"/>
                <a:gd name="T8" fmla="*/ 45322 w 693"/>
                <a:gd name="T9" fmla="*/ 138729 h 785"/>
                <a:gd name="T10" fmla="*/ 56845 w 693"/>
                <a:gd name="T11" fmla="*/ 155377 h 785"/>
                <a:gd name="T12" fmla="*/ 78353 w 693"/>
                <a:gd name="T13" fmla="*/ 145864 h 785"/>
                <a:gd name="T14" fmla="*/ 109080 w 693"/>
                <a:gd name="T15" fmla="*/ 143486 h 785"/>
                <a:gd name="T16" fmla="*/ 125980 w 693"/>
                <a:gd name="T17" fmla="*/ 119704 h 785"/>
                <a:gd name="T18" fmla="*/ 132893 w 693"/>
                <a:gd name="T19" fmla="*/ 98300 h 785"/>
                <a:gd name="T20" fmla="*/ 129821 w 693"/>
                <a:gd name="T21" fmla="*/ 86409 h 785"/>
                <a:gd name="T22" fmla="*/ 119066 w 693"/>
                <a:gd name="T23" fmla="*/ 76103 h 785"/>
                <a:gd name="T24" fmla="*/ 129053 w 693"/>
                <a:gd name="T25" fmla="*/ 67383 h 785"/>
                <a:gd name="T26" fmla="*/ 128284 w 693"/>
                <a:gd name="T27" fmla="*/ 57077 h 785"/>
                <a:gd name="T28" fmla="*/ 118298 w 693"/>
                <a:gd name="T29" fmla="*/ 56284 h 785"/>
                <a:gd name="T30" fmla="*/ 107544 w 693"/>
                <a:gd name="T31" fmla="*/ 60248 h 785"/>
                <a:gd name="T32" fmla="*/ 99862 w 693"/>
                <a:gd name="T33" fmla="*/ 45979 h 785"/>
                <a:gd name="T34" fmla="*/ 95253 w 693"/>
                <a:gd name="T35" fmla="*/ 50735 h 785"/>
                <a:gd name="T36" fmla="*/ 86803 w 693"/>
                <a:gd name="T37" fmla="*/ 42015 h 785"/>
                <a:gd name="T38" fmla="*/ 79890 w 693"/>
                <a:gd name="T39" fmla="*/ 44393 h 785"/>
                <a:gd name="T40" fmla="*/ 76817 w 693"/>
                <a:gd name="T41" fmla="*/ 33295 h 785"/>
                <a:gd name="T42" fmla="*/ 82962 w 693"/>
                <a:gd name="T43" fmla="*/ 27746 h 785"/>
                <a:gd name="T44" fmla="*/ 74513 w 693"/>
                <a:gd name="T45" fmla="*/ 13477 h 785"/>
                <a:gd name="T46" fmla="*/ 68367 w 693"/>
                <a:gd name="T47" fmla="*/ 15062 h 785"/>
                <a:gd name="T48" fmla="*/ 66063 w 693"/>
                <a:gd name="T49" fmla="*/ 3964 h 785"/>
                <a:gd name="T50" fmla="*/ 56845 w 693"/>
                <a:gd name="T51" fmla="*/ 0 h 785"/>
                <a:gd name="T52" fmla="*/ 46090 w 693"/>
                <a:gd name="T53" fmla="*/ 0 h 785"/>
                <a:gd name="T54" fmla="*/ 43018 w 693"/>
                <a:gd name="T55" fmla="*/ 7135 h 785"/>
                <a:gd name="T56" fmla="*/ 21509 w 693"/>
                <a:gd name="T57" fmla="*/ 8720 h 785"/>
                <a:gd name="T58" fmla="*/ 19972 w 693"/>
                <a:gd name="T59" fmla="*/ 13477 h 785"/>
                <a:gd name="T60" fmla="*/ 16132 w 693"/>
                <a:gd name="T61" fmla="*/ 20611 h 785"/>
                <a:gd name="T62" fmla="*/ 21509 w 693"/>
                <a:gd name="T63" fmla="*/ 23782 h 785"/>
                <a:gd name="T64" fmla="*/ 23813 w 693"/>
                <a:gd name="T65" fmla="*/ 36466 h 785"/>
                <a:gd name="T66" fmla="*/ 14595 w 693"/>
                <a:gd name="T67" fmla="*/ 42015 h 785"/>
                <a:gd name="T68" fmla="*/ 19204 w 693"/>
                <a:gd name="T69" fmla="*/ 47564 h 785"/>
                <a:gd name="T70" fmla="*/ 13059 w 693"/>
                <a:gd name="T71" fmla="*/ 48357 h 785"/>
                <a:gd name="T72" fmla="*/ 0 w 693"/>
                <a:gd name="T73" fmla="*/ 85616 h 785"/>
                <a:gd name="T74" fmla="*/ 3073 w 693"/>
                <a:gd name="T75" fmla="*/ 95921 h 78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693"/>
                <a:gd name="T115" fmla="*/ 0 h 785"/>
                <a:gd name="T116" fmla="*/ 693 w 693"/>
                <a:gd name="T117" fmla="*/ 785 h 78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693" h="785">
                  <a:moveTo>
                    <a:pt x="17" y="486"/>
                  </a:moveTo>
                  <a:lnTo>
                    <a:pt x="34" y="549"/>
                  </a:lnTo>
                  <a:lnTo>
                    <a:pt x="80" y="574"/>
                  </a:lnTo>
                  <a:lnTo>
                    <a:pt x="69" y="609"/>
                  </a:lnTo>
                  <a:lnTo>
                    <a:pt x="236" y="703"/>
                  </a:lnTo>
                  <a:lnTo>
                    <a:pt x="299" y="785"/>
                  </a:lnTo>
                  <a:lnTo>
                    <a:pt x="409" y="736"/>
                  </a:lnTo>
                  <a:lnTo>
                    <a:pt x="570" y="726"/>
                  </a:lnTo>
                  <a:lnTo>
                    <a:pt x="658" y="605"/>
                  </a:lnTo>
                  <a:lnTo>
                    <a:pt x="693" y="496"/>
                  </a:lnTo>
                  <a:lnTo>
                    <a:pt x="679" y="436"/>
                  </a:lnTo>
                  <a:lnTo>
                    <a:pt x="622" y="384"/>
                  </a:lnTo>
                  <a:lnTo>
                    <a:pt x="672" y="340"/>
                  </a:lnTo>
                  <a:lnTo>
                    <a:pt x="670" y="290"/>
                  </a:lnTo>
                  <a:lnTo>
                    <a:pt x="618" y="286"/>
                  </a:lnTo>
                  <a:lnTo>
                    <a:pt x="562" y="306"/>
                  </a:lnTo>
                  <a:lnTo>
                    <a:pt x="522" y="235"/>
                  </a:lnTo>
                  <a:lnTo>
                    <a:pt x="497" y="258"/>
                  </a:lnTo>
                  <a:lnTo>
                    <a:pt x="453" y="215"/>
                  </a:lnTo>
                  <a:lnTo>
                    <a:pt x="418" y="225"/>
                  </a:lnTo>
                  <a:lnTo>
                    <a:pt x="401" y="169"/>
                  </a:lnTo>
                  <a:lnTo>
                    <a:pt x="434" y="142"/>
                  </a:lnTo>
                  <a:lnTo>
                    <a:pt x="390" y="71"/>
                  </a:lnTo>
                  <a:lnTo>
                    <a:pt x="357" y="77"/>
                  </a:lnTo>
                  <a:lnTo>
                    <a:pt x="345" y="22"/>
                  </a:lnTo>
                  <a:lnTo>
                    <a:pt x="299" y="2"/>
                  </a:lnTo>
                  <a:lnTo>
                    <a:pt x="242" y="0"/>
                  </a:lnTo>
                  <a:lnTo>
                    <a:pt x="226" y="37"/>
                  </a:lnTo>
                  <a:lnTo>
                    <a:pt x="115" y="47"/>
                  </a:lnTo>
                  <a:lnTo>
                    <a:pt x="104" y="71"/>
                  </a:lnTo>
                  <a:lnTo>
                    <a:pt x="84" y="106"/>
                  </a:lnTo>
                  <a:lnTo>
                    <a:pt x="115" y="121"/>
                  </a:lnTo>
                  <a:lnTo>
                    <a:pt x="127" y="187"/>
                  </a:lnTo>
                  <a:lnTo>
                    <a:pt x="77" y="212"/>
                  </a:lnTo>
                  <a:lnTo>
                    <a:pt x="100" y="240"/>
                  </a:lnTo>
                  <a:lnTo>
                    <a:pt x="71" y="246"/>
                  </a:lnTo>
                  <a:lnTo>
                    <a:pt x="0" y="432"/>
                  </a:lnTo>
                  <a:lnTo>
                    <a:pt x="17" y="486"/>
                  </a:lnTo>
                  <a:close/>
                </a:path>
              </a:pathLst>
            </a:custGeom>
            <a:solidFill>
              <a:schemeClr val="hlink"/>
            </a:solidFill>
            <a:ln w="9525">
              <a:solidFill>
                <a:schemeClr val="hlink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65" name="Freeform 33"/>
            <p:cNvSpPr>
              <a:spLocks/>
            </p:cNvSpPr>
            <p:nvPr/>
          </p:nvSpPr>
          <p:spPr bwMode="gray">
            <a:xfrm>
              <a:off x="2089008" y="2477089"/>
              <a:ext cx="484647" cy="508000"/>
            </a:xfrm>
            <a:custGeom>
              <a:avLst/>
              <a:gdLst>
                <a:gd name="T0" fmla="*/ 0 w 629"/>
                <a:gd name="T1" fmla="*/ 69741 h 641"/>
                <a:gd name="T2" fmla="*/ 3082 w 629"/>
                <a:gd name="T3" fmla="*/ 91931 h 641"/>
                <a:gd name="T4" fmla="*/ 24656 w 629"/>
                <a:gd name="T5" fmla="*/ 104612 h 641"/>
                <a:gd name="T6" fmla="*/ 24656 w 629"/>
                <a:gd name="T7" fmla="*/ 112537 h 641"/>
                <a:gd name="T8" fmla="*/ 30050 w 629"/>
                <a:gd name="T9" fmla="*/ 114122 h 641"/>
                <a:gd name="T10" fmla="*/ 26968 w 629"/>
                <a:gd name="T11" fmla="*/ 121254 h 641"/>
                <a:gd name="T12" fmla="*/ 43148 w 629"/>
                <a:gd name="T13" fmla="*/ 118877 h 641"/>
                <a:gd name="T14" fmla="*/ 50083 w 629"/>
                <a:gd name="T15" fmla="*/ 126802 h 641"/>
                <a:gd name="T16" fmla="*/ 58558 w 629"/>
                <a:gd name="T17" fmla="*/ 116499 h 641"/>
                <a:gd name="T18" fmla="*/ 77050 w 629"/>
                <a:gd name="T19" fmla="*/ 122047 h 641"/>
                <a:gd name="T20" fmla="*/ 83985 w 629"/>
                <a:gd name="T21" fmla="*/ 113329 h 641"/>
                <a:gd name="T22" fmla="*/ 118658 w 629"/>
                <a:gd name="T23" fmla="*/ 118084 h 641"/>
                <a:gd name="T24" fmla="*/ 121740 w 629"/>
                <a:gd name="T25" fmla="*/ 87969 h 641"/>
                <a:gd name="T26" fmla="*/ 109412 w 629"/>
                <a:gd name="T27" fmla="*/ 74496 h 641"/>
                <a:gd name="T28" fmla="*/ 114805 w 629"/>
                <a:gd name="T29" fmla="*/ 70534 h 641"/>
                <a:gd name="T30" fmla="*/ 108641 w 629"/>
                <a:gd name="T31" fmla="*/ 62608 h 641"/>
                <a:gd name="T32" fmla="*/ 118658 w 629"/>
                <a:gd name="T33" fmla="*/ 50721 h 641"/>
                <a:gd name="T34" fmla="*/ 110953 w 629"/>
                <a:gd name="T35" fmla="*/ 47551 h 641"/>
                <a:gd name="T36" fmla="*/ 114035 w 629"/>
                <a:gd name="T37" fmla="*/ 38833 h 641"/>
                <a:gd name="T38" fmla="*/ 104018 w 629"/>
                <a:gd name="T39" fmla="*/ 21398 h 641"/>
                <a:gd name="T40" fmla="*/ 83985 w 629"/>
                <a:gd name="T41" fmla="*/ 19813 h 641"/>
                <a:gd name="T42" fmla="*/ 90149 w 629"/>
                <a:gd name="T43" fmla="*/ 7925 h 641"/>
                <a:gd name="T44" fmla="*/ 67804 w 629"/>
                <a:gd name="T45" fmla="*/ 0 h 641"/>
                <a:gd name="T46" fmla="*/ 43148 w 629"/>
                <a:gd name="T47" fmla="*/ 11095 h 641"/>
                <a:gd name="T48" fmla="*/ 45460 w 629"/>
                <a:gd name="T49" fmla="*/ 22190 h 641"/>
                <a:gd name="T50" fmla="*/ 36214 w 629"/>
                <a:gd name="T51" fmla="*/ 34078 h 641"/>
                <a:gd name="T52" fmla="*/ 26968 w 629"/>
                <a:gd name="T53" fmla="*/ 30908 h 641"/>
                <a:gd name="T54" fmla="*/ 17722 w 629"/>
                <a:gd name="T55" fmla="*/ 36456 h 641"/>
                <a:gd name="T56" fmla="*/ 12328 w 629"/>
                <a:gd name="T57" fmla="*/ 68949 h 641"/>
                <a:gd name="T58" fmla="*/ 0 w 629"/>
                <a:gd name="T59" fmla="*/ 69741 h 64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29"/>
                <a:gd name="T91" fmla="*/ 0 h 641"/>
                <a:gd name="T92" fmla="*/ 629 w 629"/>
                <a:gd name="T93" fmla="*/ 641 h 64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29" h="641">
                  <a:moveTo>
                    <a:pt x="0" y="355"/>
                  </a:moveTo>
                  <a:lnTo>
                    <a:pt x="13" y="464"/>
                  </a:lnTo>
                  <a:lnTo>
                    <a:pt x="128" y="529"/>
                  </a:lnTo>
                  <a:lnTo>
                    <a:pt x="128" y="568"/>
                  </a:lnTo>
                  <a:lnTo>
                    <a:pt x="155" y="579"/>
                  </a:lnTo>
                  <a:lnTo>
                    <a:pt x="140" y="614"/>
                  </a:lnTo>
                  <a:lnTo>
                    <a:pt x="224" y="602"/>
                  </a:lnTo>
                  <a:lnTo>
                    <a:pt x="259" y="641"/>
                  </a:lnTo>
                  <a:lnTo>
                    <a:pt x="301" y="591"/>
                  </a:lnTo>
                  <a:lnTo>
                    <a:pt x="397" y="618"/>
                  </a:lnTo>
                  <a:lnTo>
                    <a:pt x="436" y="574"/>
                  </a:lnTo>
                  <a:lnTo>
                    <a:pt x="614" y="598"/>
                  </a:lnTo>
                  <a:lnTo>
                    <a:pt x="629" y="445"/>
                  </a:lnTo>
                  <a:lnTo>
                    <a:pt x="568" y="378"/>
                  </a:lnTo>
                  <a:lnTo>
                    <a:pt x="595" y="359"/>
                  </a:lnTo>
                  <a:lnTo>
                    <a:pt x="564" y="316"/>
                  </a:lnTo>
                  <a:lnTo>
                    <a:pt x="614" y="257"/>
                  </a:lnTo>
                  <a:lnTo>
                    <a:pt x="576" y="240"/>
                  </a:lnTo>
                  <a:lnTo>
                    <a:pt x="591" y="197"/>
                  </a:lnTo>
                  <a:lnTo>
                    <a:pt x="537" y="109"/>
                  </a:lnTo>
                  <a:lnTo>
                    <a:pt x="434" y="101"/>
                  </a:lnTo>
                  <a:lnTo>
                    <a:pt x="466" y="42"/>
                  </a:lnTo>
                  <a:lnTo>
                    <a:pt x="351" y="0"/>
                  </a:lnTo>
                  <a:lnTo>
                    <a:pt x="224" y="59"/>
                  </a:lnTo>
                  <a:lnTo>
                    <a:pt x="236" y="113"/>
                  </a:lnTo>
                  <a:lnTo>
                    <a:pt x="186" y="172"/>
                  </a:lnTo>
                  <a:lnTo>
                    <a:pt x="140" y="159"/>
                  </a:lnTo>
                  <a:lnTo>
                    <a:pt x="92" y="184"/>
                  </a:lnTo>
                  <a:lnTo>
                    <a:pt x="61" y="349"/>
                  </a:lnTo>
                  <a:lnTo>
                    <a:pt x="0" y="355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folHlink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66" name="Freeform 35"/>
            <p:cNvSpPr>
              <a:spLocks/>
            </p:cNvSpPr>
            <p:nvPr/>
          </p:nvSpPr>
          <p:spPr bwMode="gray">
            <a:xfrm>
              <a:off x="2001310" y="1997664"/>
              <a:ext cx="598501" cy="525462"/>
            </a:xfrm>
            <a:custGeom>
              <a:avLst/>
              <a:gdLst>
                <a:gd name="T0" fmla="*/ 1541 w 777"/>
                <a:gd name="T1" fmla="*/ 60325 h 662"/>
                <a:gd name="T2" fmla="*/ 24649 w 777"/>
                <a:gd name="T3" fmla="*/ 61912 h 662"/>
                <a:gd name="T4" fmla="*/ 25419 w 777"/>
                <a:gd name="T5" fmla="*/ 72231 h 662"/>
                <a:gd name="T6" fmla="*/ 29270 w 777"/>
                <a:gd name="T7" fmla="*/ 69056 h 662"/>
                <a:gd name="T8" fmla="*/ 40054 w 777"/>
                <a:gd name="T9" fmla="*/ 73025 h 662"/>
                <a:gd name="T10" fmla="*/ 48527 w 777"/>
                <a:gd name="T11" fmla="*/ 95250 h 662"/>
                <a:gd name="T12" fmla="*/ 45446 w 777"/>
                <a:gd name="T13" fmla="*/ 116681 h 662"/>
                <a:gd name="T14" fmla="*/ 57000 w 777"/>
                <a:gd name="T15" fmla="*/ 117475 h 662"/>
                <a:gd name="T16" fmla="*/ 65473 w 777"/>
                <a:gd name="T17" fmla="*/ 131762 h 662"/>
                <a:gd name="T18" fmla="*/ 90122 w 777"/>
                <a:gd name="T19" fmla="*/ 120650 h 662"/>
                <a:gd name="T20" fmla="*/ 110919 w 777"/>
                <a:gd name="T21" fmla="*/ 128587 h 662"/>
                <a:gd name="T22" fmla="*/ 118622 w 777"/>
                <a:gd name="T23" fmla="*/ 128587 h 662"/>
                <a:gd name="T24" fmla="*/ 121703 w 777"/>
                <a:gd name="T25" fmla="*/ 119062 h 662"/>
                <a:gd name="T26" fmla="*/ 141730 w 777"/>
                <a:gd name="T27" fmla="*/ 117475 h 662"/>
                <a:gd name="T28" fmla="*/ 137879 w 777"/>
                <a:gd name="T29" fmla="*/ 100012 h 662"/>
                <a:gd name="T30" fmla="*/ 147892 w 777"/>
                <a:gd name="T31" fmla="*/ 103187 h 662"/>
                <a:gd name="T32" fmla="*/ 150203 w 777"/>
                <a:gd name="T33" fmla="*/ 91281 h 662"/>
                <a:gd name="T34" fmla="*/ 138649 w 777"/>
                <a:gd name="T35" fmla="*/ 78581 h 662"/>
                <a:gd name="T36" fmla="*/ 150203 w 777"/>
                <a:gd name="T37" fmla="*/ 72231 h 662"/>
                <a:gd name="T38" fmla="*/ 146352 w 777"/>
                <a:gd name="T39" fmla="*/ 65881 h 662"/>
                <a:gd name="T40" fmla="*/ 134027 w 777"/>
                <a:gd name="T41" fmla="*/ 64294 h 662"/>
                <a:gd name="T42" fmla="*/ 114770 w 777"/>
                <a:gd name="T43" fmla="*/ 63500 h 662"/>
                <a:gd name="T44" fmla="*/ 108608 w 777"/>
                <a:gd name="T45" fmla="*/ 69850 h 662"/>
                <a:gd name="T46" fmla="*/ 102446 w 777"/>
                <a:gd name="T47" fmla="*/ 57150 h 662"/>
                <a:gd name="T48" fmla="*/ 94743 w 777"/>
                <a:gd name="T49" fmla="*/ 53181 h 662"/>
                <a:gd name="T50" fmla="*/ 90122 w 777"/>
                <a:gd name="T51" fmla="*/ 57944 h 662"/>
                <a:gd name="T52" fmla="*/ 86270 w 777"/>
                <a:gd name="T53" fmla="*/ 42069 h 662"/>
                <a:gd name="T54" fmla="*/ 92433 w 777"/>
                <a:gd name="T55" fmla="*/ 34925 h 662"/>
                <a:gd name="T56" fmla="*/ 85500 w 777"/>
                <a:gd name="T57" fmla="*/ 21431 h 662"/>
                <a:gd name="T58" fmla="*/ 77797 w 777"/>
                <a:gd name="T59" fmla="*/ 17462 h 662"/>
                <a:gd name="T60" fmla="*/ 71635 w 777"/>
                <a:gd name="T61" fmla="*/ 24606 h 662"/>
                <a:gd name="T62" fmla="*/ 57000 w 777"/>
                <a:gd name="T63" fmla="*/ 22225 h 662"/>
                <a:gd name="T64" fmla="*/ 48527 w 777"/>
                <a:gd name="T65" fmla="*/ 7937 h 662"/>
                <a:gd name="T66" fmla="*/ 40054 w 777"/>
                <a:gd name="T67" fmla="*/ 5556 h 662"/>
                <a:gd name="T68" fmla="*/ 41595 w 777"/>
                <a:gd name="T69" fmla="*/ 0 h 662"/>
                <a:gd name="T70" fmla="*/ 23878 w 777"/>
                <a:gd name="T71" fmla="*/ 3969 h 662"/>
                <a:gd name="T72" fmla="*/ 20027 w 777"/>
                <a:gd name="T73" fmla="*/ 8731 h 662"/>
                <a:gd name="T74" fmla="*/ 22338 w 777"/>
                <a:gd name="T75" fmla="*/ 32544 h 662"/>
                <a:gd name="T76" fmla="*/ 16176 w 777"/>
                <a:gd name="T77" fmla="*/ 31750 h 662"/>
                <a:gd name="T78" fmla="*/ 16946 w 777"/>
                <a:gd name="T79" fmla="*/ 38894 h 662"/>
                <a:gd name="T80" fmla="*/ 0 w 777"/>
                <a:gd name="T81" fmla="*/ 57150 h 662"/>
                <a:gd name="T82" fmla="*/ 1541 w 777"/>
                <a:gd name="T83" fmla="*/ 60325 h 66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777"/>
                <a:gd name="T127" fmla="*/ 0 h 662"/>
                <a:gd name="T128" fmla="*/ 777 w 777"/>
                <a:gd name="T129" fmla="*/ 662 h 662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777" h="662">
                  <a:moveTo>
                    <a:pt x="5" y="303"/>
                  </a:moveTo>
                  <a:lnTo>
                    <a:pt x="126" y="309"/>
                  </a:lnTo>
                  <a:lnTo>
                    <a:pt x="132" y="365"/>
                  </a:lnTo>
                  <a:lnTo>
                    <a:pt x="151" y="348"/>
                  </a:lnTo>
                  <a:lnTo>
                    <a:pt x="205" y="369"/>
                  </a:lnTo>
                  <a:lnTo>
                    <a:pt x="251" y="480"/>
                  </a:lnTo>
                  <a:lnTo>
                    <a:pt x="236" y="586"/>
                  </a:lnTo>
                  <a:lnTo>
                    <a:pt x="295" y="591"/>
                  </a:lnTo>
                  <a:lnTo>
                    <a:pt x="339" y="662"/>
                  </a:lnTo>
                  <a:lnTo>
                    <a:pt x="466" y="605"/>
                  </a:lnTo>
                  <a:lnTo>
                    <a:pt x="575" y="647"/>
                  </a:lnTo>
                  <a:lnTo>
                    <a:pt x="614" y="645"/>
                  </a:lnTo>
                  <a:lnTo>
                    <a:pt x="631" y="599"/>
                  </a:lnTo>
                  <a:lnTo>
                    <a:pt x="733" y="591"/>
                  </a:lnTo>
                  <a:lnTo>
                    <a:pt x="716" y="507"/>
                  </a:lnTo>
                  <a:lnTo>
                    <a:pt x="767" y="520"/>
                  </a:lnTo>
                  <a:lnTo>
                    <a:pt x="777" y="461"/>
                  </a:lnTo>
                  <a:lnTo>
                    <a:pt x="717" y="396"/>
                  </a:lnTo>
                  <a:lnTo>
                    <a:pt x="777" y="367"/>
                  </a:lnTo>
                  <a:lnTo>
                    <a:pt x="758" y="332"/>
                  </a:lnTo>
                  <a:lnTo>
                    <a:pt x="694" y="321"/>
                  </a:lnTo>
                  <a:lnTo>
                    <a:pt x="595" y="317"/>
                  </a:lnTo>
                  <a:lnTo>
                    <a:pt x="564" y="353"/>
                  </a:lnTo>
                  <a:lnTo>
                    <a:pt x="529" y="286"/>
                  </a:lnTo>
                  <a:lnTo>
                    <a:pt x="491" y="267"/>
                  </a:lnTo>
                  <a:lnTo>
                    <a:pt x="466" y="290"/>
                  </a:lnTo>
                  <a:lnTo>
                    <a:pt x="447" y="215"/>
                  </a:lnTo>
                  <a:lnTo>
                    <a:pt x="479" y="177"/>
                  </a:lnTo>
                  <a:lnTo>
                    <a:pt x="443" y="110"/>
                  </a:lnTo>
                  <a:lnTo>
                    <a:pt x="403" y="90"/>
                  </a:lnTo>
                  <a:lnTo>
                    <a:pt x="370" y="127"/>
                  </a:lnTo>
                  <a:lnTo>
                    <a:pt x="293" y="113"/>
                  </a:lnTo>
                  <a:lnTo>
                    <a:pt x="251" y="39"/>
                  </a:lnTo>
                  <a:lnTo>
                    <a:pt x="205" y="31"/>
                  </a:lnTo>
                  <a:lnTo>
                    <a:pt x="216" y="0"/>
                  </a:lnTo>
                  <a:lnTo>
                    <a:pt x="124" y="17"/>
                  </a:lnTo>
                  <a:lnTo>
                    <a:pt x="103" y="46"/>
                  </a:lnTo>
                  <a:lnTo>
                    <a:pt x="113" y="161"/>
                  </a:lnTo>
                  <a:lnTo>
                    <a:pt x="82" y="159"/>
                  </a:lnTo>
                  <a:lnTo>
                    <a:pt x="88" y="198"/>
                  </a:lnTo>
                  <a:lnTo>
                    <a:pt x="0" y="286"/>
                  </a:lnTo>
                  <a:lnTo>
                    <a:pt x="5" y="303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67" name="Freeform 36"/>
            <p:cNvSpPr>
              <a:spLocks/>
            </p:cNvSpPr>
            <p:nvPr/>
          </p:nvSpPr>
          <p:spPr bwMode="gray">
            <a:xfrm>
              <a:off x="2339793" y="1891302"/>
              <a:ext cx="578498" cy="479425"/>
            </a:xfrm>
            <a:custGeom>
              <a:avLst/>
              <a:gdLst>
                <a:gd name="T0" fmla="*/ 768 w 753"/>
                <a:gd name="T1" fmla="*/ 44598 h 602"/>
                <a:gd name="T2" fmla="*/ 11524 w 753"/>
                <a:gd name="T3" fmla="*/ 35837 h 602"/>
                <a:gd name="T4" fmla="*/ 30730 w 753"/>
                <a:gd name="T5" fmla="*/ 35041 h 602"/>
                <a:gd name="T6" fmla="*/ 40718 w 753"/>
                <a:gd name="T7" fmla="*/ 23095 h 602"/>
                <a:gd name="T8" fmla="*/ 43791 w 753"/>
                <a:gd name="T9" fmla="*/ 7964 h 602"/>
                <a:gd name="T10" fmla="*/ 62997 w 753"/>
                <a:gd name="T11" fmla="*/ 0 h 602"/>
                <a:gd name="T12" fmla="*/ 66838 w 753"/>
                <a:gd name="T13" fmla="*/ 6371 h 602"/>
                <a:gd name="T14" fmla="*/ 79131 w 753"/>
                <a:gd name="T15" fmla="*/ 3186 h 602"/>
                <a:gd name="T16" fmla="*/ 91423 w 753"/>
                <a:gd name="T17" fmla="*/ 19910 h 602"/>
                <a:gd name="T18" fmla="*/ 85277 w 753"/>
                <a:gd name="T19" fmla="*/ 30263 h 602"/>
                <a:gd name="T20" fmla="*/ 128299 w 753"/>
                <a:gd name="T21" fmla="*/ 25484 h 602"/>
                <a:gd name="T22" fmla="*/ 135982 w 753"/>
                <a:gd name="T23" fmla="*/ 28670 h 602"/>
                <a:gd name="T24" fmla="*/ 144432 w 753"/>
                <a:gd name="T25" fmla="*/ 52562 h 602"/>
                <a:gd name="T26" fmla="*/ 133677 w 753"/>
                <a:gd name="T27" fmla="*/ 63711 h 602"/>
                <a:gd name="T28" fmla="*/ 135213 w 753"/>
                <a:gd name="T29" fmla="*/ 78046 h 602"/>
                <a:gd name="T30" fmla="*/ 119848 w 753"/>
                <a:gd name="T31" fmla="*/ 86806 h 602"/>
                <a:gd name="T32" fmla="*/ 130604 w 753"/>
                <a:gd name="T33" fmla="*/ 108309 h 602"/>
                <a:gd name="T34" fmla="*/ 119848 w 753"/>
                <a:gd name="T35" fmla="*/ 110698 h 602"/>
                <a:gd name="T36" fmla="*/ 119080 w 753"/>
                <a:gd name="T37" fmla="*/ 111494 h 602"/>
                <a:gd name="T38" fmla="*/ 121385 w 753"/>
                <a:gd name="T39" fmla="*/ 115476 h 602"/>
                <a:gd name="T40" fmla="*/ 115239 w 753"/>
                <a:gd name="T41" fmla="*/ 118662 h 602"/>
                <a:gd name="T42" fmla="*/ 108324 w 753"/>
                <a:gd name="T43" fmla="*/ 113087 h 602"/>
                <a:gd name="T44" fmla="*/ 102947 w 753"/>
                <a:gd name="T45" fmla="*/ 121051 h 602"/>
                <a:gd name="T46" fmla="*/ 92191 w 753"/>
                <a:gd name="T47" fmla="*/ 106716 h 602"/>
                <a:gd name="T48" fmla="*/ 65302 w 753"/>
                <a:gd name="T49" fmla="*/ 100345 h 602"/>
                <a:gd name="T50" fmla="*/ 60692 w 753"/>
                <a:gd name="T51" fmla="*/ 92381 h 602"/>
                <a:gd name="T52" fmla="*/ 49168 w 753"/>
                <a:gd name="T53" fmla="*/ 91584 h 602"/>
                <a:gd name="T54" fmla="*/ 29194 w 753"/>
                <a:gd name="T55" fmla="*/ 89992 h 602"/>
                <a:gd name="T56" fmla="*/ 23816 w 753"/>
                <a:gd name="T57" fmla="*/ 97159 h 602"/>
                <a:gd name="T58" fmla="*/ 16902 w 753"/>
                <a:gd name="T59" fmla="*/ 83621 h 602"/>
                <a:gd name="T60" fmla="*/ 9219 w 753"/>
                <a:gd name="T61" fmla="*/ 79639 h 602"/>
                <a:gd name="T62" fmla="*/ 4610 w 753"/>
                <a:gd name="T63" fmla="*/ 84417 h 602"/>
                <a:gd name="T64" fmla="*/ 768 w 753"/>
                <a:gd name="T65" fmla="*/ 70082 h 602"/>
                <a:gd name="T66" fmla="*/ 6914 w 753"/>
                <a:gd name="T67" fmla="*/ 62118 h 602"/>
                <a:gd name="T68" fmla="*/ 0 w 753"/>
                <a:gd name="T69" fmla="*/ 47783 h 602"/>
                <a:gd name="T70" fmla="*/ 768 w 753"/>
                <a:gd name="T71" fmla="*/ 44598 h 60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753"/>
                <a:gd name="T109" fmla="*/ 0 h 602"/>
                <a:gd name="T110" fmla="*/ 753 w 753"/>
                <a:gd name="T111" fmla="*/ 602 h 60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753" h="602">
                  <a:moveTo>
                    <a:pt x="6" y="224"/>
                  </a:moveTo>
                  <a:lnTo>
                    <a:pt x="63" y="180"/>
                  </a:lnTo>
                  <a:lnTo>
                    <a:pt x="161" y="174"/>
                  </a:lnTo>
                  <a:lnTo>
                    <a:pt x="215" y="113"/>
                  </a:lnTo>
                  <a:lnTo>
                    <a:pt x="229" y="40"/>
                  </a:lnTo>
                  <a:lnTo>
                    <a:pt x="330" y="0"/>
                  </a:lnTo>
                  <a:lnTo>
                    <a:pt x="351" y="29"/>
                  </a:lnTo>
                  <a:lnTo>
                    <a:pt x="415" y="15"/>
                  </a:lnTo>
                  <a:lnTo>
                    <a:pt x="476" y="100"/>
                  </a:lnTo>
                  <a:lnTo>
                    <a:pt x="444" y="149"/>
                  </a:lnTo>
                  <a:lnTo>
                    <a:pt x="668" y="125"/>
                  </a:lnTo>
                  <a:lnTo>
                    <a:pt x="708" y="144"/>
                  </a:lnTo>
                  <a:lnTo>
                    <a:pt x="753" y="261"/>
                  </a:lnTo>
                  <a:lnTo>
                    <a:pt x="699" y="316"/>
                  </a:lnTo>
                  <a:lnTo>
                    <a:pt x="705" y="389"/>
                  </a:lnTo>
                  <a:lnTo>
                    <a:pt x="624" y="432"/>
                  </a:lnTo>
                  <a:lnTo>
                    <a:pt x="682" y="541"/>
                  </a:lnTo>
                  <a:lnTo>
                    <a:pt x="626" y="554"/>
                  </a:lnTo>
                  <a:lnTo>
                    <a:pt x="622" y="556"/>
                  </a:lnTo>
                  <a:lnTo>
                    <a:pt x="634" y="576"/>
                  </a:lnTo>
                  <a:lnTo>
                    <a:pt x="603" y="593"/>
                  </a:lnTo>
                  <a:lnTo>
                    <a:pt x="566" y="564"/>
                  </a:lnTo>
                  <a:lnTo>
                    <a:pt x="536" y="602"/>
                  </a:lnTo>
                  <a:lnTo>
                    <a:pt x="480" y="533"/>
                  </a:lnTo>
                  <a:lnTo>
                    <a:pt x="340" y="501"/>
                  </a:lnTo>
                  <a:lnTo>
                    <a:pt x="317" y="462"/>
                  </a:lnTo>
                  <a:lnTo>
                    <a:pt x="257" y="458"/>
                  </a:lnTo>
                  <a:lnTo>
                    <a:pt x="154" y="449"/>
                  </a:lnTo>
                  <a:lnTo>
                    <a:pt x="125" y="485"/>
                  </a:lnTo>
                  <a:lnTo>
                    <a:pt x="90" y="418"/>
                  </a:lnTo>
                  <a:lnTo>
                    <a:pt x="50" y="397"/>
                  </a:lnTo>
                  <a:lnTo>
                    <a:pt x="25" y="422"/>
                  </a:lnTo>
                  <a:lnTo>
                    <a:pt x="6" y="349"/>
                  </a:lnTo>
                  <a:lnTo>
                    <a:pt x="37" y="309"/>
                  </a:lnTo>
                  <a:lnTo>
                    <a:pt x="0" y="240"/>
                  </a:lnTo>
                  <a:lnTo>
                    <a:pt x="6" y="224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68" name="Freeform 38"/>
            <p:cNvSpPr>
              <a:spLocks/>
            </p:cNvSpPr>
            <p:nvPr/>
          </p:nvSpPr>
          <p:spPr bwMode="gray">
            <a:xfrm>
              <a:off x="2818285" y="2313579"/>
              <a:ext cx="503109" cy="517525"/>
            </a:xfrm>
            <a:custGeom>
              <a:avLst/>
              <a:gdLst>
                <a:gd name="T0" fmla="*/ 768 w 655"/>
                <a:gd name="T1" fmla="*/ 3963 h 653"/>
                <a:gd name="T2" fmla="*/ 10753 w 655"/>
                <a:gd name="T3" fmla="*/ 2378 h 653"/>
                <a:gd name="T4" fmla="*/ 23043 w 655"/>
                <a:gd name="T5" fmla="*/ 0 h 653"/>
                <a:gd name="T6" fmla="*/ 30724 w 655"/>
                <a:gd name="T7" fmla="*/ 7925 h 653"/>
                <a:gd name="T8" fmla="*/ 45318 w 655"/>
                <a:gd name="T9" fmla="*/ 15851 h 653"/>
                <a:gd name="T10" fmla="*/ 49159 w 655"/>
                <a:gd name="T11" fmla="*/ 10303 h 653"/>
                <a:gd name="T12" fmla="*/ 58376 w 655"/>
                <a:gd name="T13" fmla="*/ 11888 h 653"/>
                <a:gd name="T14" fmla="*/ 58376 w 655"/>
                <a:gd name="T15" fmla="*/ 3170 h 653"/>
                <a:gd name="T16" fmla="*/ 79883 w 655"/>
                <a:gd name="T17" fmla="*/ 25361 h 653"/>
                <a:gd name="T18" fmla="*/ 88332 w 655"/>
                <a:gd name="T19" fmla="*/ 27739 h 653"/>
                <a:gd name="T20" fmla="*/ 93709 w 655"/>
                <a:gd name="T21" fmla="*/ 22983 h 653"/>
                <a:gd name="T22" fmla="*/ 92173 w 655"/>
                <a:gd name="T23" fmla="*/ 28531 h 653"/>
                <a:gd name="T24" fmla="*/ 100622 w 655"/>
                <a:gd name="T25" fmla="*/ 26946 h 653"/>
                <a:gd name="T26" fmla="*/ 104462 w 655"/>
                <a:gd name="T27" fmla="*/ 37249 h 653"/>
                <a:gd name="T28" fmla="*/ 113680 w 655"/>
                <a:gd name="T29" fmla="*/ 32494 h 653"/>
                <a:gd name="T30" fmla="*/ 116752 w 655"/>
                <a:gd name="T31" fmla="*/ 46760 h 653"/>
                <a:gd name="T32" fmla="*/ 125201 w 655"/>
                <a:gd name="T33" fmla="*/ 51515 h 653"/>
                <a:gd name="T34" fmla="*/ 123665 w 655"/>
                <a:gd name="T35" fmla="*/ 58648 h 653"/>
                <a:gd name="T36" fmla="*/ 121361 w 655"/>
                <a:gd name="T37" fmla="*/ 59440 h 653"/>
                <a:gd name="T38" fmla="*/ 119824 w 655"/>
                <a:gd name="T39" fmla="*/ 61818 h 653"/>
                <a:gd name="T40" fmla="*/ 115216 w 655"/>
                <a:gd name="T41" fmla="*/ 63403 h 653"/>
                <a:gd name="T42" fmla="*/ 109071 w 655"/>
                <a:gd name="T43" fmla="*/ 64988 h 653"/>
                <a:gd name="T44" fmla="*/ 112143 w 655"/>
                <a:gd name="T45" fmla="*/ 72913 h 653"/>
                <a:gd name="T46" fmla="*/ 104462 w 655"/>
                <a:gd name="T47" fmla="*/ 83216 h 653"/>
                <a:gd name="T48" fmla="*/ 113680 w 655"/>
                <a:gd name="T49" fmla="*/ 99859 h 653"/>
                <a:gd name="T50" fmla="*/ 111375 w 655"/>
                <a:gd name="T51" fmla="*/ 108577 h 653"/>
                <a:gd name="T52" fmla="*/ 88332 w 655"/>
                <a:gd name="T53" fmla="*/ 121258 h 653"/>
                <a:gd name="T54" fmla="*/ 70666 w 655"/>
                <a:gd name="T55" fmla="*/ 115710 h 653"/>
                <a:gd name="T56" fmla="*/ 55304 w 655"/>
                <a:gd name="T57" fmla="*/ 129183 h 653"/>
                <a:gd name="T58" fmla="*/ 49159 w 655"/>
                <a:gd name="T59" fmla="*/ 118880 h 653"/>
                <a:gd name="T60" fmla="*/ 31492 w 655"/>
                <a:gd name="T61" fmla="*/ 125220 h 653"/>
                <a:gd name="T62" fmla="*/ 15362 w 655"/>
                <a:gd name="T63" fmla="*/ 109370 h 653"/>
                <a:gd name="T64" fmla="*/ 19971 w 655"/>
                <a:gd name="T65" fmla="*/ 76083 h 653"/>
                <a:gd name="T66" fmla="*/ 11522 w 655"/>
                <a:gd name="T67" fmla="*/ 45174 h 653"/>
                <a:gd name="T68" fmla="*/ 1536 w 655"/>
                <a:gd name="T69" fmla="*/ 34872 h 653"/>
                <a:gd name="T70" fmla="*/ 7681 w 655"/>
                <a:gd name="T71" fmla="*/ 20606 h 653"/>
                <a:gd name="T72" fmla="*/ 2304 w 655"/>
                <a:gd name="T73" fmla="*/ 7925 h 653"/>
                <a:gd name="T74" fmla="*/ 0 w 655"/>
                <a:gd name="T75" fmla="*/ 4755 h 653"/>
                <a:gd name="T76" fmla="*/ 768 w 655"/>
                <a:gd name="T77" fmla="*/ 3963 h 65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655"/>
                <a:gd name="T118" fmla="*/ 0 h 653"/>
                <a:gd name="T119" fmla="*/ 655 w 655"/>
                <a:gd name="T120" fmla="*/ 653 h 65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655" h="653">
                  <a:moveTo>
                    <a:pt x="4" y="23"/>
                  </a:moveTo>
                  <a:lnTo>
                    <a:pt x="56" y="12"/>
                  </a:lnTo>
                  <a:lnTo>
                    <a:pt x="123" y="0"/>
                  </a:lnTo>
                  <a:lnTo>
                    <a:pt x="161" y="43"/>
                  </a:lnTo>
                  <a:lnTo>
                    <a:pt x="236" y="81"/>
                  </a:lnTo>
                  <a:lnTo>
                    <a:pt x="257" y="54"/>
                  </a:lnTo>
                  <a:lnTo>
                    <a:pt x="305" y="60"/>
                  </a:lnTo>
                  <a:lnTo>
                    <a:pt x="305" y="16"/>
                  </a:lnTo>
                  <a:lnTo>
                    <a:pt x="418" y="131"/>
                  </a:lnTo>
                  <a:lnTo>
                    <a:pt x="463" y="140"/>
                  </a:lnTo>
                  <a:lnTo>
                    <a:pt x="488" y="116"/>
                  </a:lnTo>
                  <a:lnTo>
                    <a:pt x="482" y="146"/>
                  </a:lnTo>
                  <a:lnTo>
                    <a:pt x="526" y="139"/>
                  </a:lnTo>
                  <a:lnTo>
                    <a:pt x="547" y="190"/>
                  </a:lnTo>
                  <a:lnTo>
                    <a:pt x="593" y="164"/>
                  </a:lnTo>
                  <a:lnTo>
                    <a:pt x="609" y="238"/>
                  </a:lnTo>
                  <a:lnTo>
                    <a:pt x="655" y="263"/>
                  </a:lnTo>
                  <a:lnTo>
                    <a:pt x="645" y="298"/>
                  </a:lnTo>
                  <a:lnTo>
                    <a:pt x="632" y="302"/>
                  </a:lnTo>
                  <a:lnTo>
                    <a:pt x="626" y="315"/>
                  </a:lnTo>
                  <a:lnTo>
                    <a:pt x="603" y="321"/>
                  </a:lnTo>
                  <a:lnTo>
                    <a:pt x="570" y="329"/>
                  </a:lnTo>
                  <a:lnTo>
                    <a:pt x="584" y="369"/>
                  </a:lnTo>
                  <a:lnTo>
                    <a:pt x="545" y="423"/>
                  </a:lnTo>
                  <a:lnTo>
                    <a:pt x="595" y="505"/>
                  </a:lnTo>
                  <a:lnTo>
                    <a:pt x="580" y="551"/>
                  </a:lnTo>
                  <a:lnTo>
                    <a:pt x="461" y="614"/>
                  </a:lnTo>
                  <a:lnTo>
                    <a:pt x="370" y="584"/>
                  </a:lnTo>
                  <a:lnTo>
                    <a:pt x="290" y="653"/>
                  </a:lnTo>
                  <a:lnTo>
                    <a:pt x="257" y="603"/>
                  </a:lnTo>
                  <a:lnTo>
                    <a:pt x="167" y="632"/>
                  </a:lnTo>
                  <a:lnTo>
                    <a:pt x="83" y="553"/>
                  </a:lnTo>
                  <a:lnTo>
                    <a:pt x="106" y="386"/>
                  </a:lnTo>
                  <a:lnTo>
                    <a:pt x="61" y="229"/>
                  </a:lnTo>
                  <a:lnTo>
                    <a:pt x="8" y="177"/>
                  </a:lnTo>
                  <a:lnTo>
                    <a:pt x="42" y="106"/>
                  </a:lnTo>
                  <a:lnTo>
                    <a:pt x="12" y="43"/>
                  </a:lnTo>
                  <a:lnTo>
                    <a:pt x="0" y="25"/>
                  </a:lnTo>
                  <a:lnTo>
                    <a:pt x="4" y="23"/>
                  </a:lnTo>
                  <a:close/>
                </a:path>
              </a:pathLst>
            </a:custGeom>
            <a:solidFill>
              <a:schemeClr val="hlink"/>
            </a:solidFill>
            <a:ln w="9525">
              <a:solidFill>
                <a:schemeClr val="hlink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69" name="Freeform 41"/>
            <p:cNvSpPr>
              <a:spLocks/>
            </p:cNvSpPr>
            <p:nvPr/>
          </p:nvSpPr>
          <p:spPr bwMode="gray">
            <a:xfrm>
              <a:off x="3336780" y="3018427"/>
              <a:ext cx="344637" cy="468312"/>
            </a:xfrm>
            <a:custGeom>
              <a:avLst/>
              <a:gdLst>
                <a:gd name="T0" fmla="*/ 0 w 449"/>
                <a:gd name="T1" fmla="*/ 44375 h 591"/>
                <a:gd name="T2" fmla="*/ 13049 w 449"/>
                <a:gd name="T3" fmla="*/ 61808 h 591"/>
                <a:gd name="T4" fmla="*/ 10746 w 449"/>
                <a:gd name="T5" fmla="*/ 87957 h 591"/>
                <a:gd name="T6" fmla="*/ 20724 w 449"/>
                <a:gd name="T7" fmla="*/ 99051 h 591"/>
                <a:gd name="T8" fmla="*/ 40681 w 449"/>
                <a:gd name="T9" fmla="*/ 103013 h 591"/>
                <a:gd name="T10" fmla="*/ 38378 w 449"/>
                <a:gd name="T11" fmla="*/ 111729 h 591"/>
                <a:gd name="T12" fmla="*/ 48357 w 449"/>
                <a:gd name="T13" fmla="*/ 116484 h 591"/>
                <a:gd name="T14" fmla="*/ 59103 w 449"/>
                <a:gd name="T15" fmla="*/ 106975 h 591"/>
                <a:gd name="T16" fmla="*/ 50659 w 449"/>
                <a:gd name="T17" fmla="*/ 99051 h 591"/>
                <a:gd name="T18" fmla="*/ 74454 w 449"/>
                <a:gd name="T19" fmla="*/ 95089 h 591"/>
                <a:gd name="T20" fmla="*/ 85967 w 449"/>
                <a:gd name="T21" fmla="*/ 80825 h 591"/>
                <a:gd name="T22" fmla="*/ 75221 w 449"/>
                <a:gd name="T23" fmla="*/ 72109 h 591"/>
                <a:gd name="T24" fmla="*/ 80594 w 449"/>
                <a:gd name="T25" fmla="*/ 68147 h 591"/>
                <a:gd name="T26" fmla="*/ 62940 w 449"/>
                <a:gd name="T27" fmla="*/ 68147 h 591"/>
                <a:gd name="T28" fmla="*/ 58335 w 449"/>
                <a:gd name="T29" fmla="*/ 55468 h 591"/>
                <a:gd name="T30" fmla="*/ 45286 w 449"/>
                <a:gd name="T31" fmla="*/ 49922 h 591"/>
                <a:gd name="T32" fmla="*/ 48357 w 449"/>
                <a:gd name="T33" fmla="*/ 17433 h 591"/>
                <a:gd name="T34" fmla="*/ 43751 w 449"/>
                <a:gd name="T35" fmla="*/ 15848 h 591"/>
                <a:gd name="T36" fmla="*/ 39146 w 449"/>
                <a:gd name="T37" fmla="*/ 0 h 591"/>
                <a:gd name="T38" fmla="*/ 33773 w 449"/>
                <a:gd name="T39" fmla="*/ 5547 h 591"/>
                <a:gd name="T40" fmla="*/ 16119 w 449"/>
                <a:gd name="T41" fmla="*/ 792 h 591"/>
                <a:gd name="T42" fmla="*/ 11513 w 449"/>
                <a:gd name="T43" fmla="*/ 11886 h 591"/>
                <a:gd name="T44" fmla="*/ 16886 w 449"/>
                <a:gd name="T45" fmla="*/ 19018 h 591"/>
                <a:gd name="T46" fmla="*/ 5373 w 449"/>
                <a:gd name="T47" fmla="*/ 23772 h 591"/>
                <a:gd name="T48" fmla="*/ 0 w 449"/>
                <a:gd name="T49" fmla="*/ 36451 h 591"/>
                <a:gd name="T50" fmla="*/ 4605 w 449"/>
                <a:gd name="T51" fmla="*/ 41205 h 591"/>
                <a:gd name="T52" fmla="*/ 0 w 449"/>
                <a:gd name="T53" fmla="*/ 42790 h 591"/>
                <a:gd name="T54" fmla="*/ 0 w 449"/>
                <a:gd name="T55" fmla="*/ 44375 h 59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449"/>
                <a:gd name="T85" fmla="*/ 0 h 591"/>
                <a:gd name="T86" fmla="*/ 449 w 449"/>
                <a:gd name="T87" fmla="*/ 591 h 591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449" h="591">
                  <a:moveTo>
                    <a:pt x="0" y="226"/>
                  </a:moveTo>
                  <a:lnTo>
                    <a:pt x="71" y="315"/>
                  </a:lnTo>
                  <a:lnTo>
                    <a:pt x="59" y="445"/>
                  </a:lnTo>
                  <a:lnTo>
                    <a:pt x="111" y="503"/>
                  </a:lnTo>
                  <a:lnTo>
                    <a:pt x="215" y="522"/>
                  </a:lnTo>
                  <a:lnTo>
                    <a:pt x="201" y="566"/>
                  </a:lnTo>
                  <a:lnTo>
                    <a:pt x="255" y="591"/>
                  </a:lnTo>
                  <a:lnTo>
                    <a:pt x="309" y="543"/>
                  </a:lnTo>
                  <a:lnTo>
                    <a:pt x="265" y="503"/>
                  </a:lnTo>
                  <a:lnTo>
                    <a:pt x="389" y="482"/>
                  </a:lnTo>
                  <a:lnTo>
                    <a:pt x="449" y="411"/>
                  </a:lnTo>
                  <a:lnTo>
                    <a:pt x="395" y="367"/>
                  </a:lnTo>
                  <a:lnTo>
                    <a:pt x="420" y="344"/>
                  </a:lnTo>
                  <a:lnTo>
                    <a:pt x="328" y="347"/>
                  </a:lnTo>
                  <a:lnTo>
                    <a:pt x="305" y="280"/>
                  </a:lnTo>
                  <a:lnTo>
                    <a:pt x="238" y="255"/>
                  </a:lnTo>
                  <a:lnTo>
                    <a:pt x="255" y="88"/>
                  </a:lnTo>
                  <a:lnTo>
                    <a:pt x="228" y="83"/>
                  </a:lnTo>
                  <a:lnTo>
                    <a:pt x="207" y="0"/>
                  </a:lnTo>
                  <a:lnTo>
                    <a:pt x="176" y="29"/>
                  </a:lnTo>
                  <a:lnTo>
                    <a:pt x="84" y="6"/>
                  </a:lnTo>
                  <a:lnTo>
                    <a:pt x="63" y="60"/>
                  </a:lnTo>
                  <a:lnTo>
                    <a:pt x="90" y="96"/>
                  </a:lnTo>
                  <a:lnTo>
                    <a:pt x="29" y="123"/>
                  </a:lnTo>
                  <a:lnTo>
                    <a:pt x="0" y="184"/>
                  </a:lnTo>
                  <a:lnTo>
                    <a:pt x="27" y="211"/>
                  </a:lnTo>
                  <a:lnTo>
                    <a:pt x="0" y="219"/>
                  </a:lnTo>
                  <a:lnTo>
                    <a:pt x="0" y="226"/>
                  </a:lnTo>
                  <a:close/>
                </a:path>
              </a:pathLst>
            </a:custGeom>
            <a:solidFill>
              <a:srgbClr val="B1726B"/>
            </a:solidFill>
            <a:ln w="9525">
              <a:solidFill>
                <a:srgbClr val="B1726B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70" name="Freeform 43"/>
            <p:cNvSpPr>
              <a:spLocks/>
            </p:cNvSpPr>
            <p:nvPr/>
          </p:nvSpPr>
          <p:spPr bwMode="gray">
            <a:xfrm>
              <a:off x="3099842" y="2550114"/>
              <a:ext cx="680043" cy="552450"/>
            </a:xfrm>
            <a:custGeom>
              <a:avLst/>
              <a:gdLst>
                <a:gd name="T0" fmla="*/ 1540 w 883"/>
                <a:gd name="T1" fmla="*/ 57150 h 696"/>
                <a:gd name="T2" fmla="*/ 18484 w 883"/>
                <a:gd name="T3" fmla="*/ 62706 h 696"/>
                <a:gd name="T4" fmla="*/ 41588 w 883"/>
                <a:gd name="T5" fmla="*/ 50006 h 696"/>
                <a:gd name="T6" fmla="*/ 43899 w 883"/>
                <a:gd name="T7" fmla="*/ 40481 h 696"/>
                <a:gd name="T8" fmla="*/ 34657 w 883"/>
                <a:gd name="T9" fmla="*/ 24606 h 696"/>
                <a:gd name="T10" fmla="*/ 42358 w 883"/>
                <a:gd name="T11" fmla="*/ 14288 h 696"/>
                <a:gd name="T12" fmla="*/ 39278 w 883"/>
                <a:gd name="T13" fmla="*/ 6350 h 696"/>
                <a:gd name="T14" fmla="*/ 46209 w 883"/>
                <a:gd name="T15" fmla="*/ 3969 h 696"/>
                <a:gd name="T16" fmla="*/ 51600 w 883"/>
                <a:gd name="T17" fmla="*/ 794 h 696"/>
                <a:gd name="T18" fmla="*/ 53911 w 883"/>
                <a:gd name="T19" fmla="*/ 0 h 696"/>
                <a:gd name="T20" fmla="*/ 86257 w 883"/>
                <a:gd name="T21" fmla="*/ 18256 h 696"/>
                <a:gd name="T22" fmla="*/ 98579 w 883"/>
                <a:gd name="T23" fmla="*/ 34925 h 696"/>
                <a:gd name="T24" fmla="*/ 119373 w 883"/>
                <a:gd name="T25" fmla="*/ 25400 h 696"/>
                <a:gd name="T26" fmla="*/ 150950 w 883"/>
                <a:gd name="T27" fmla="*/ 23019 h 696"/>
                <a:gd name="T28" fmla="*/ 150950 w 883"/>
                <a:gd name="T29" fmla="*/ 26988 h 696"/>
                <a:gd name="T30" fmla="*/ 152490 w 883"/>
                <a:gd name="T31" fmla="*/ 29369 h 696"/>
                <a:gd name="T32" fmla="*/ 170203 w 883"/>
                <a:gd name="T33" fmla="*/ 38894 h 696"/>
                <a:gd name="T34" fmla="*/ 157881 w 883"/>
                <a:gd name="T35" fmla="*/ 46831 h 696"/>
                <a:gd name="T36" fmla="*/ 168663 w 883"/>
                <a:gd name="T37" fmla="*/ 69056 h 696"/>
                <a:gd name="T38" fmla="*/ 161732 w 883"/>
                <a:gd name="T39" fmla="*/ 80169 h 696"/>
                <a:gd name="T40" fmla="*/ 167123 w 883"/>
                <a:gd name="T41" fmla="*/ 91281 h 696"/>
                <a:gd name="T42" fmla="*/ 157111 w 883"/>
                <a:gd name="T43" fmla="*/ 96044 h 696"/>
                <a:gd name="T44" fmla="*/ 144018 w 883"/>
                <a:gd name="T45" fmla="*/ 86519 h 696"/>
                <a:gd name="T46" fmla="*/ 134006 w 883"/>
                <a:gd name="T47" fmla="*/ 92075 h 696"/>
                <a:gd name="T48" fmla="*/ 122454 w 883"/>
                <a:gd name="T49" fmla="*/ 87312 h 696"/>
                <a:gd name="T50" fmla="*/ 108591 w 883"/>
                <a:gd name="T51" fmla="*/ 134938 h 696"/>
                <a:gd name="T52" fmla="*/ 103200 w 883"/>
                <a:gd name="T53" fmla="*/ 134144 h 696"/>
                <a:gd name="T54" fmla="*/ 99349 w 883"/>
                <a:gd name="T55" fmla="*/ 117475 h 696"/>
                <a:gd name="T56" fmla="*/ 93188 w 883"/>
                <a:gd name="T57" fmla="*/ 123031 h 696"/>
                <a:gd name="T58" fmla="*/ 75475 w 883"/>
                <a:gd name="T59" fmla="*/ 118269 h 696"/>
                <a:gd name="T60" fmla="*/ 71624 w 883"/>
                <a:gd name="T61" fmla="*/ 129381 h 696"/>
                <a:gd name="T62" fmla="*/ 62382 w 883"/>
                <a:gd name="T63" fmla="*/ 138113 h 696"/>
                <a:gd name="T64" fmla="*/ 45439 w 883"/>
                <a:gd name="T65" fmla="*/ 132556 h 696"/>
                <a:gd name="T66" fmla="*/ 33887 w 883"/>
                <a:gd name="T67" fmla="*/ 137319 h 696"/>
                <a:gd name="T68" fmla="*/ 25415 w 883"/>
                <a:gd name="T69" fmla="*/ 130969 h 696"/>
                <a:gd name="T70" fmla="*/ 26185 w 883"/>
                <a:gd name="T71" fmla="*/ 122238 h 696"/>
                <a:gd name="T72" fmla="*/ 35427 w 883"/>
                <a:gd name="T73" fmla="*/ 115888 h 696"/>
                <a:gd name="T74" fmla="*/ 35427 w 883"/>
                <a:gd name="T75" fmla="*/ 98425 h 696"/>
                <a:gd name="T76" fmla="*/ 11552 w 883"/>
                <a:gd name="T77" fmla="*/ 85725 h 696"/>
                <a:gd name="T78" fmla="*/ 0 w 883"/>
                <a:gd name="T79" fmla="*/ 57944 h 696"/>
                <a:gd name="T80" fmla="*/ 1540 w 883"/>
                <a:gd name="T81" fmla="*/ 57150 h 69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883"/>
                <a:gd name="T124" fmla="*/ 0 h 696"/>
                <a:gd name="T125" fmla="*/ 883 w 883"/>
                <a:gd name="T126" fmla="*/ 696 h 69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883" h="696">
                  <a:moveTo>
                    <a:pt x="5" y="286"/>
                  </a:moveTo>
                  <a:lnTo>
                    <a:pt x="94" y="316"/>
                  </a:lnTo>
                  <a:lnTo>
                    <a:pt x="213" y="255"/>
                  </a:lnTo>
                  <a:lnTo>
                    <a:pt x="228" y="207"/>
                  </a:lnTo>
                  <a:lnTo>
                    <a:pt x="178" y="125"/>
                  </a:lnTo>
                  <a:lnTo>
                    <a:pt x="217" y="71"/>
                  </a:lnTo>
                  <a:lnTo>
                    <a:pt x="203" y="32"/>
                  </a:lnTo>
                  <a:lnTo>
                    <a:pt x="240" y="23"/>
                  </a:lnTo>
                  <a:lnTo>
                    <a:pt x="265" y="4"/>
                  </a:lnTo>
                  <a:lnTo>
                    <a:pt x="280" y="0"/>
                  </a:lnTo>
                  <a:lnTo>
                    <a:pt x="445" y="94"/>
                  </a:lnTo>
                  <a:lnTo>
                    <a:pt x="510" y="176"/>
                  </a:lnTo>
                  <a:lnTo>
                    <a:pt x="618" y="128"/>
                  </a:lnTo>
                  <a:lnTo>
                    <a:pt x="781" y="117"/>
                  </a:lnTo>
                  <a:lnTo>
                    <a:pt x="783" y="136"/>
                  </a:lnTo>
                  <a:lnTo>
                    <a:pt x="792" y="146"/>
                  </a:lnTo>
                  <a:lnTo>
                    <a:pt x="883" y="199"/>
                  </a:lnTo>
                  <a:lnTo>
                    <a:pt x="817" y="236"/>
                  </a:lnTo>
                  <a:lnTo>
                    <a:pt x="875" y="351"/>
                  </a:lnTo>
                  <a:lnTo>
                    <a:pt x="840" y="405"/>
                  </a:lnTo>
                  <a:lnTo>
                    <a:pt x="865" y="460"/>
                  </a:lnTo>
                  <a:lnTo>
                    <a:pt x="815" y="485"/>
                  </a:lnTo>
                  <a:lnTo>
                    <a:pt x="746" y="439"/>
                  </a:lnTo>
                  <a:lnTo>
                    <a:pt x="693" y="464"/>
                  </a:lnTo>
                  <a:lnTo>
                    <a:pt x="633" y="441"/>
                  </a:lnTo>
                  <a:lnTo>
                    <a:pt x="562" y="677"/>
                  </a:lnTo>
                  <a:lnTo>
                    <a:pt x="535" y="673"/>
                  </a:lnTo>
                  <a:lnTo>
                    <a:pt x="514" y="591"/>
                  </a:lnTo>
                  <a:lnTo>
                    <a:pt x="483" y="618"/>
                  </a:lnTo>
                  <a:lnTo>
                    <a:pt x="391" y="595"/>
                  </a:lnTo>
                  <a:lnTo>
                    <a:pt x="372" y="650"/>
                  </a:lnTo>
                  <a:lnTo>
                    <a:pt x="324" y="696"/>
                  </a:lnTo>
                  <a:lnTo>
                    <a:pt x="236" y="668"/>
                  </a:lnTo>
                  <a:lnTo>
                    <a:pt x="176" y="689"/>
                  </a:lnTo>
                  <a:lnTo>
                    <a:pt x="132" y="658"/>
                  </a:lnTo>
                  <a:lnTo>
                    <a:pt x="134" y="616"/>
                  </a:lnTo>
                  <a:lnTo>
                    <a:pt x="184" y="581"/>
                  </a:lnTo>
                  <a:lnTo>
                    <a:pt x="184" y="499"/>
                  </a:lnTo>
                  <a:lnTo>
                    <a:pt x="57" y="432"/>
                  </a:lnTo>
                  <a:lnTo>
                    <a:pt x="0" y="290"/>
                  </a:lnTo>
                  <a:lnTo>
                    <a:pt x="5" y="286"/>
                  </a:lnTo>
                  <a:close/>
                </a:path>
              </a:pathLst>
            </a:custGeom>
            <a:solidFill>
              <a:schemeClr val="hlink"/>
            </a:solidFill>
            <a:ln w="9525">
              <a:solidFill>
                <a:schemeClr val="hlink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71" name="Freeform 46"/>
            <p:cNvSpPr>
              <a:spLocks/>
            </p:cNvSpPr>
            <p:nvPr/>
          </p:nvSpPr>
          <p:spPr bwMode="gray">
            <a:xfrm>
              <a:off x="2819824" y="1865902"/>
              <a:ext cx="533880" cy="596900"/>
            </a:xfrm>
            <a:custGeom>
              <a:avLst/>
              <a:gdLst>
                <a:gd name="T0" fmla="*/ 768 w 695"/>
                <a:gd name="T1" fmla="*/ 93662 h 752"/>
                <a:gd name="T2" fmla="*/ 10754 w 695"/>
                <a:gd name="T3" fmla="*/ 114300 h 752"/>
                <a:gd name="T4" fmla="*/ 23045 w 695"/>
                <a:gd name="T5" fmla="*/ 111919 h 752"/>
                <a:gd name="T6" fmla="*/ 29191 w 695"/>
                <a:gd name="T7" fmla="*/ 120650 h 752"/>
                <a:gd name="T8" fmla="*/ 44554 w 695"/>
                <a:gd name="T9" fmla="*/ 129381 h 752"/>
                <a:gd name="T10" fmla="*/ 48395 w 695"/>
                <a:gd name="T11" fmla="*/ 122238 h 752"/>
                <a:gd name="T12" fmla="*/ 56845 w 695"/>
                <a:gd name="T13" fmla="*/ 124619 h 752"/>
                <a:gd name="T14" fmla="*/ 58381 w 695"/>
                <a:gd name="T15" fmla="*/ 115888 h 752"/>
                <a:gd name="T16" fmla="*/ 79890 w 695"/>
                <a:gd name="T17" fmla="*/ 138906 h 752"/>
                <a:gd name="T18" fmla="*/ 87572 w 695"/>
                <a:gd name="T19" fmla="*/ 139700 h 752"/>
                <a:gd name="T20" fmla="*/ 92949 w 695"/>
                <a:gd name="T21" fmla="*/ 134938 h 752"/>
                <a:gd name="T22" fmla="*/ 92181 w 695"/>
                <a:gd name="T23" fmla="*/ 142081 h 752"/>
                <a:gd name="T24" fmla="*/ 99862 w 695"/>
                <a:gd name="T25" fmla="*/ 139700 h 752"/>
                <a:gd name="T26" fmla="*/ 104471 w 695"/>
                <a:gd name="T27" fmla="*/ 149225 h 752"/>
                <a:gd name="T28" fmla="*/ 112921 w 695"/>
                <a:gd name="T29" fmla="*/ 146050 h 752"/>
                <a:gd name="T30" fmla="*/ 110617 w 695"/>
                <a:gd name="T31" fmla="*/ 138113 h 752"/>
                <a:gd name="T32" fmla="*/ 109849 w 695"/>
                <a:gd name="T33" fmla="*/ 136525 h 752"/>
                <a:gd name="T34" fmla="*/ 123676 w 695"/>
                <a:gd name="T35" fmla="*/ 98425 h 752"/>
                <a:gd name="T36" fmla="*/ 129053 w 695"/>
                <a:gd name="T37" fmla="*/ 97631 h 752"/>
                <a:gd name="T38" fmla="*/ 125212 w 695"/>
                <a:gd name="T39" fmla="*/ 92075 h 752"/>
                <a:gd name="T40" fmla="*/ 132894 w 695"/>
                <a:gd name="T41" fmla="*/ 87312 h 752"/>
                <a:gd name="T42" fmla="*/ 132126 w 695"/>
                <a:gd name="T43" fmla="*/ 74613 h 752"/>
                <a:gd name="T44" fmla="*/ 125980 w 695"/>
                <a:gd name="T45" fmla="*/ 71438 h 752"/>
                <a:gd name="T46" fmla="*/ 129821 w 695"/>
                <a:gd name="T47" fmla="*/ 64294 h 752"/>
                <a:gd name="T48" fmla="*/ 121371 w 695"/>
                <a:gd name="T49" fmla="*/ 57944 h 752"/>
                <a:gd name="T50" fmla="*/ 113690 w 695"/>
                <a:gd name="T51" fmla="*/ 64294 h 752"/>
                <a:gd name="T52" fmla="*/ 93717 w 695"/>
                <a:gd name="T53" fmla="*/ 64294 h 752"/>
                <a:gd name="T54" fmla="*/ 94485 w 695"/>
                <a:gd name="T55" fmla="*/ 55563 h 752"/>
                <a:gd name="T56" fmla="*/ 89876 w 695"/>
                <a:gd name="T57" fmla="*/ 56356 h 752"/>
                <a:gd name="T58" fmla="*/ 80658 w 695"/>
                <a:gd name="T59" fmla="*/ 30956 h 752"/>
                <a:gd name="T60" fmla="*/ 73745 w 695"/>
                <a:gd name="T61" fmla="*/ 34925 h 752"/>
                <a:gd name="T62" fmla="*/ 65295 w 695"/>
                <a:gd name="T63" fmla="*/ 27781 h 752"/>
                <a:gd name="T64" fmla="*/ 69904 w 695"/>
                <a:gd name="T65" fmla="*/ 17463 h 752"/>
                <a:gd name="T66" fmla="*/ 49931 w 695"/>
                <a:gd name="T67" fmla="*/ 0 h 752"/>
                <a:gd name="T68" fmla="*/ 18436 w 695"/>
                <a:gd name="T69" fmla="*/ 4762 h 752"/>
                <a:gd name="T70" fmla="*/ 18436 w 695"/>
                <a:gd name="T71" fmla="*/ 19050 h 752"/>
                <a:gd name="T72" fmla="*/ 8450 w 695"/>
                <a:gd name="T73" fmla="*/ 31750 h 752"/>
                <a:gd name="T74" fmla="*/ 16132 w 695"/>
                <a:gd name="T75" fmla="*/ 36513 h 752"/>
                <a:gd name="T76" fmla="*/ 24582 w 695"/>
                <a:gd name="T77" fmla="*/ 58738 h 752"/>
                <a:gd name="T78" fmla="*/ 13827 w 695"/>
                <a:gd name="T79" fmla="*/ 69056 h 752"/>
                <a:gd name="T80" fmla="*/ 15363 w 695"/>
                <a:gd name="T81" fmla="*/ 83344 h 752"/>
                <a:gd name="T82" fmla="*/ 0 w 695"/>
                <a:gd name="T83" fmla="*/ 92075 h 752"/>
                <a:gd name="T84" fmla="*/ 768 w 695"/>
                <a:gd name="T85" fmla="*/ 93662 h 75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95"/>
                <a:gd name="T130" fmla="*/ 0 h 752"/>
                <a:gd name="T131" fmla="*/ 695 w 695"/>
                <a:gd name="T132" fmla="*/ 752 h 75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95" h="752">
                  <a:moveTo>
                    <a:pt x="4" y="474"/>
                  </a:moveTo>
                  <a:lnTo>
                    <a:pt x="58" y="576"/>
                  </a:lnTo>
                  <a:lnTo>
                    <a:pt x="123" y="564"/>
                  </a:lnTo>
                  <a:lnTo>
                    <a:pt x="155" y="607"/>
                  </a:lnTo>
                  <a:lnTo>
                    <a:pt x="234" y="649"/>
                  </a:lnTo>
                  <a:lnTo>
                    <a:pt x="255" y="616"/>
                  </a:lnTo>
                  <a:lnTo>
                    <a:pt x="299" y="626"/>
                  </a:lnTo>
                  <a:lnTo>
                    <a:pt x="305" y="584"/>
                  </a:lnTo>
                  <a:lnTo>
                    <a:pt x="416" y="697"/>
                  </a:lnTo>
                  <a:lnTo>
                    <a:pt x="459" y="704"/>
                  </a:lnTo>
                  <a:lnTo>
                    <a:pt x="486" y="680"/>
                  </a:lnTo>
                  <a:lnTo>
                    <a:pt x="480" y="714"/>
                  </a:lnTo>
                  <a:lnTo>
                    <a:pt x="522" y="701"/>
                  </a:lnTo>
                  <a:lnTo>
                    <a:pt x="545" y="752"/>
                  </a:lnTo>
                  <a:lnTo>
                    <a:pt x="591" y="735"/>
                  </a:lnTo>
                  <a:lnTo>
                    <a:pt x="576" y="693"/>
                  </a:lnTo>
                  <a:lnTo>
                    <a:pt x="574" y="687"/>
                  </a:lnTo>
                  <a:lnTo>
                    <a:pt x="645" y="499"/>
                  </a:lnTo>
                  <a:lnTo>
                    <a:pt x="672" y="493"/>
                  </a:lnTo>
                  <a:lnTo>
                    <a:pt x="653" y="465"/>
                  </a:lnTo>
                  <a:lnTo>
                    <a:pt x="695" y="440"/>
                  </a:lnTo>
                  <a:lnTo>
                    <a:pt x="691" y="378"/>
                  </a:lnTo>
                  <a:lnTo>
                    <a:pt x="656" y="357"/>
                  </a:lnTo>
                  <a:lnTo>
                    <a:pt x="678" y="323"/>
                  </a:lnTo>
                  <a:lnTo>
                    <a:pt x="633" y="290"/>
                  </a:lnTo>
                  <a:lnTo>
                    <a:pt x="595" y="323"/>
                  </a:lnTo>
                  <a:lnTo>
                    <a:pt x="491" y="323"/>
                  </a:lnTo>
                  <a:lnTo>
                    <a:pt x="495" y="280"/>
                  </a:lnTo>
                  <a:lnTo>
                    <a:pt x="468" y="282"/>
                  </a:lnTo>
                  <a:lnTo>
                    <a:pt x="420" y="156"/>
                  </a:lnTo>
                  <a:lnTo>
                    <a:pt x="384" y="175"/>
                  </a:lnTo>
                  <a:lnTo>
                    <a:pt x="342" y="140"/>
                  </a:lnTo>
                  <a:lnTo>
                    <a:pt x="365" y="87"/>
                  </a:lnTo>
                  <a:lnTo>
                    <a:pt x="263" y="0"/>
                  </a:lnTo>
                  <a:lnTo>
                    <a:pt x="96" y="23"/>
                  </a:lnTo>
                  <a:lnTo>
                    <a:pt x="96" y="96"/>
                  </a:lnTo>
                  <a:lnTo>
                    <a:pt x="46" y="158"/>
                  </a:lnTo>
                  <a:lnTo>
                    <a:pt x="84" y="181"/>
                  </a:lnTo>
                  <a:lnTo>
                    <a:pt x="129" y="294"/>
                  </a:lnTo>
                  <a:lnTo>
                    <a:pt x="75" y="348"/>
                  </a:lnTo>
                  <a:lnTo>
                    <a:pt x="81" y="422"/>
                  </a:lnTo>
                  <a:lnTo>
                    <a:pt x="0" y="465"/>
                  </a:lnTo>
                  <a:lnTo>
                    <a:pt x="4" y="474"/>
                  </a:lnTo>
                  <a:close/>
                </a:path>
              </a:pathLst>
            </a:custGeom>
            <a:solidFill>
              <a:schemeClr val="hlink"/>
            </a:solidFill>
            <a:ln w="9525">
              <a:solidFill>
                <a:schemeClr val="hlink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72" name="Freeform 48"/>
            <p:cNvSpPr>
              <a:spLocks/>
            </p:cNvSpPr>
            <p:nvPr/>
          </p:nvSpPr>
          <p:spPr bwMode="gray">
            <a:xfrm>
              <a:off x="2599811" y="2748552"/>
              <a:ext cx="641579" cy="474662"/>
            </a:xfrm>
            <a:custGeom>
              <a:avLst/>
              <a:gdLst>
                <a:gd name="T0" fmla="*/ 768 w 835"/>
                <a:gd name="T1" fmla="*/ 52300 h 599"/>
                <a:gd name="T2" fmla="*/ 2305 w 835"/>
                <a:gd name="T3" fmla="*/ 61809 h 599"/>
                <a:gd name="T4" fmla="*/ 19209 w 835"/>
                <a:gd name="T5" fmla="*/ 71318 h 599"/>
                <a:gd name="T6" fmla="*/ 26893 w 835"/>
                <a:gd name="T7" fmla="*/ 90336 h 599"/>
                <a:gd name="T8" fmla="*/ 32271 w 835"/>
                <a:gd name="T9" fmla="*/ 93506 h 599"/>
                <a:gd name="T10" fmla="*/ 41491 w 835"/>
                <a:gd name="T11" fmla="*/ 79242 h 599"/>
                <a:gd name="T12" fmla="*/ 48407 w 835"/>
                <a:gd name="T13" fmla="*/ 82412 h 599"/>
                <a:gd name="T14" fmla="*/ 50712 w 835"/>
                <a:gd name="T15" fmla="*/ 76865 h 599"/>
                <a:gd name="T16" fmla="*/ 59932 w 835"/>
                <a:gd name="T17" fmla="*/ 75280 h 599"/>
                <a:gd name="T18" fmla="*/ 63774 w 835"/>
                <a:gd name="T19" fmla="*/ 92714 h 599"/>
                <a:gd name="T20" fmla="*/ 82983 w 835"/>
                <a:gd name="T21" fmla="*/ 100638 h 599"/>
                <a:gd name="T22" fmla="*/ 109107 w 835"/>
                <a:gd name="T23" fmla="*/ 100638 h 599"/>
                <a:gd name="T24" fmla="*/ 110644 w 835"/>
                <a:gd name="T25" fmla="*/ 108562 h 599"/>
                <a:gd name="T26" fmla="*/ 120632 w 835"/>
                <a:gd name="T27" fmla="*/ 107770 h 599"/>
                <a:gd name="T28" fmla="*/ 130621 w 835"/>
                <a:gd name="T29" fmla="*/ 118071 h 599"/>
                <a:gd name="T30" fmla="*/ 131389 w 835"/>
                <a:gd name="T31" fmla="*/ 118071 h 599"/>
                <a:gd name="T32" fmla="*/ 143683 w 835"/>
                <a:gd name="T33" fmla="*/ 111732 h 599"/>
                <a:gd name="T34" fmla="*/ 139073 w 835"/>
                <a:gd name="T35" fmla="*/ 79242 h 599"/>
                <a:gd name="T36" fmla="*/ 150598 w 835"/>
                <a:gd name="T37" fmla="*/ 72111 h 599"/>
                <a:gd name="T38" fmla="*/ 159818 w 835"/>
                <a:gd name="T39" fmla="*/ 65771 h 599"/>
                <a:gd name="T40" fmla="*/ 159818 w 835"/>
                <a:gd name="T41" fmla="*/ 49130 h 599"/>
                <a:gd name="T42" fmla="*/ 135999 w 835"/>
                <a:gd name="T43" fmla="*/ 35659 h 599"/>
                <a:gd name="T44" fmla="*/ 124474 w 835"/>
                <a:gd name="T45" fmla="*/ 7924 h 599"/>
                <a:gd name="T46" fmla="*/ 125242 w 835"/>
                <a:gd name="T47" fmla="*/ 7132 h 599"/>
                <a:gd name="T48" fmla="*/ 109875 w 835"/>
                <a:gd name="T49" fmla="*/ 20603 h 599"/>
                <a:gd name="T50" fmla="*/ 103728 w 835"/>
                <a:gd name="T51" fmla="*/ 11094 h 599"/>
                <a:gd name="T52" fmla="*/ 85288 w 835"/>
                <a:gd name="T53" fmla="*/ 15848 h 599"/>
                <a:gd name="T54" fmla="*/ 69152 w 835"/>
                <a:gd name="T55" fmla="*/ 0 h 599"/>
                <a:gd name="T56" fmla="*/ 59164 w 835"/>
                <a:gd name="T57" fmla="*/ 792 h 599"/>
                <a:gd name="T58" fmla="*/ 53785 w 835"/>
                <a:gd name="T59" fmla="*/ 9509 h 599"/>
                <a:gd name="T60" fmla="*/ 39955 w 835"/>
                <a:gd name="T61" fmla="*/ 7924 h 599"/>
                <a:gd name="T62" fmla="*/ 28429 w 835"/>
                <a:gd name="T63" fmla="*/ 18226 h 599"/>
                <a:gd name="T64" fmla="*/ 31503 w 835"/>
                <a:gd name="T65" fmla="*/ 33282 h 599"/>
                <a:gd name="T66" fmla="*/ 9220 w 835"/>
                <a:gd name="T67" fmla="*/ 38036 h 599"/>
                <a:gd name="T68" fmla="*/ 0 w 835"/>
                <a:gd name="T69" fmla="*/ 50715 h 599"/>
                <a:gd name="T70" fmla="*/ 768 w 835"/>
                <a:gd name="T71" fmla="*/ 52300 h 59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35"/>
                <a:gd name="T109" fmla="*/ 0 h 599"/>
                <a:gd name="T110" fmla="*/ 835 w 835"/>
                <a:gd name="T111" fmla="*/ 599 h 59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35" h="599">
                  <a:moveTo>
                    <a:pt x="6" y="267"/>
                  </a:moveTo>
                  <a:lnTo>
                    <a:pt x="15" y="315"/>
                  </a:lnTo>
                  <a:lnTo>
                    <a:pt x="102" y="363"/>
                  </a:lnTo>
                  <a:lnTo>
                    <a:pt x="140" y="457"/>
                  </a:lnTo>
                  <a:lnTo>
                    <a:pt x="169" y="472"/>
                  </a:lnTo>
                  <a:lnTo>
                    <a:pt x="219" y="403"/>
                  </a:lnTo>
                  <a:lnTo>
                    <a:pt x="255" y="417"/>
                  </a:lnTo>
                  <a:lnTo>
                    <a:pt x="265" y="388"/>
                  </a:lnTo>
                  <a:lnTo>
                    <a:pt x="313" y="382"/>
                  </a:lnTo>
                  <a:lnTo>
                    <a:pt x="334" y="469"/>
                  </a:lnTo>
                  <a:lnTo>
                    <a:pt x="434" y="511"/>
                  </a:lnTo>
                  <a:lnTo>
                    <a:pt x="568" y="511"/>
                  </a:lnTo>
                  <a:lnTo>
                    <a:pt x="578" y="549"/>
                  </a:lnTo>
                  <a:lnTo>
                    <a:pt x="631" y="545"/>
                  </a:lnTo>
                  <a:lnTo>
                    <a:pt x="681" y="599"/>
                  </a:lnTo>
                  <a:lnTo>
                    <a:pt x="687" y="599"/>
                  </a:lnTo>
                  <a:lnTo>
                    <a:pt x="750" y="565"/>
                  </a:lnTo>
                  <a:lnTo>
                    <a:pt x="726" y="400"/>
                  </a:lnTo>
                  <a:lnTo>
                    <a:pt x="785" y="365"/>
                  </a:lnTo>
                  <a:lnTo>
                    <a:pt x="835" y="332"/>
                  </a:lnTo>
                  <a:lnTo>
                    <a:pt x="835" y="250"/>
                  </a:lnTo>
                  <a:lnTo>
                    <a:pt x="708" y="181"/>
                  </a:lnTo>
                  <a:lnTo>
                    <a:pt x="651" y="41"/>
                  </a:lnTo>
                  <a:lnTo>
                    <a:pt x="654" y="37"/>
                  </a:lnTo>
                  <a:lnTo>
                    <a:pt x="574" y="106"/>
                  </a:lnTo>
                  <a:lnTo>
                    <a:pt x="543" y="56"/>
                  </a:lnTo>
                  <a:lnTo>
                    <a:pt x="447" y="83"/>
                  </a:lnTo>
                  <a:lnTo>
                    <a:pt x="363" y="0"/>
                  </a:lnTo>
                  <a:lnTo>
                    <a:pt x="309" y="6"/>
                  </a:lnTo>
                  <a:lnTo>
                    <a:pt x="282" y="48"/>
                  </a:lnTo>
                  <a:lnTo>
                    <a:pt x="211" y="41"/>
                  </a:lnTo>
                  <a:lnTo>
                    <a:pt x="148" y="94"/>
                  </a:lnTo>
                  <a:lnTo>
                    <a:pt x="167" y="171"/>
                  </a:lnTo>
                  <a:lnTo>
                    <a:pt x="50" y="192"/>
                  </a:lnTo>
                  <a:lnTo>
                    <a:pt x="0" y="259"/>
                  </a:lnTo>
                  <a:lnTo>
                    <a:pt x="6" y="267"/>
                  </a:lnTo>
                  <a:close/>
                </a:path>
              </a:pathLst>
            </a:custGeom>
            <a:solidFill>
              <a:srgbClr val="B1726B"/>
            </a:solidFill>
            <a:ln w="9525">
              <a:solidFill>
                <a:srgbClr val="B1726B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73" name="Freeform 51"/>
            <p:cNvSpPr>
              <a:spLocks/>
            </p:cNvSpPr>
            <p:nvPr/>
          </p:nvSpPr>
          <p:spPr bwMode="gray">
            <a:xfrm>
              <a:off x="3127537" y="3037477"/>
              <a:ext cx="404641" cy="577850"/>
            </a:xfrm>
            <a:custGeom>
              <a:avLst/>
              <a:gdLst>
                <a:gd name="T0" fmla="*/ 769 w 526"/>
                <a:gd name="T1" fmla="*/ 46896 h 727"/>
                <a:gd name="T2" fmla="*/ 12308 w 526"/>
                <a:gd name="T3" fmla="*/ 39742 h 727"/>
                <a:gd name="T4" fmla="*/ 7693 w 526"/>
                <a:gd name="T5" fmla="*/ 7154 h 727"/>
                <a:gd name="T6" fmla="*/ 20001 w 526"/>
                <a:gd name="T7" fmla="*/ 0 h 727"/>
                <a:gd name="T8" fmla="*/ 18463 w 526"/>
                <a:gd name="T9" fmla="*/ 8743 h 727"/>
                <a:gd name="T10" fmla="*/ 26925 w 526"/>
                <a:gd name="T11" fmla="*/ 15102 h 727"/>
                <a:gd name="T12" fmla="*/ 38464 w 526"/>
                <a:gd name="T13" fmla="*/ 11128 h 727"/>
                <a:gd name="T14" fmla="*/ 54619 w 526"/>
                <a:gd name="T15" fmla="*/ 16692 h 727"/>
                <a:gd name="T16" fmla="*/ 64619 w 526"/>
                <a:gd name="T17" fmla="*/ 7154 h 727"/>
                <a:gd name="T18" fmla="*/ 69235 w 526"/>
                <a:gd name="T19" fmla="*/ 15102 h 727"/>
                <a:gd name="T20" fmla="*/ 57696 w 526"/>
                <a:gd name="T21" fmla="*/ 19871 h 727"/>
                <a:gd name="T22" fmla="*/ 52311 w 526"/>
                <a:gd name="T23" fmla="*/ 31794 h 727"/>
                <a:gd name="T24" fmla="*/ 57696 w 526"/>
                <a:gd name="T25" fmla="*/ 36563 h 727"/>
                <a:gd name="T26" fmla="*/ 52311 w 526"/>
                <a:gd name="T27" fmla="*/ 38947 h 727"/>
                <a:gd name="T28" fmla="*/ 52311 w 526"/>
                <a:gd name="T29" fmla="*/ 40537 h 727"/>
                <a:gd name="T30" fmla="*/ 66158 w 526"/>
                <a:gd name="T31" fmla="*/ 58023 h 727"/>
                <a:gd name="T32" fmla="*/ 63850 w 526"/>
                <a:gd name="T33" fmla="*/ 83458 h 727"/>
                <a:gd name="T34" fmla="*/ 73082 w 526"/>
                <a:gd name="T35" fmla="*/ 95381 h 727"/>
                <a:gd name="T36" fmla="*/ 93852 w 526"/>
                <a:gd name="T37" fmla="*/ 98560 h 727"/>
                <a:gd name="T38" fmla="*/ 92314 w 526"/>
                <a:gd name="T39" fmla="*/ 107304 h 727"/>
                <a:gd name="T40" fmla="*/ 101545 w 526"/>
                <a:gd name="T41" fmla="*/ 112868 h 727"/>
                <a:gd name="T42" fmla="*/ 100006 w 526"/>
                <a:gd name="T43" fmla="*/ 120816 h 727"/>
                <a:gd name="T44" fmla="*/ 100776 w 526"/>
                <a:gd name="T45" fmla="*/ 125585 h 727"/>
                <a:gd name="T46" fmla="*/ 87698 w 526"/>
                <a:gd name="T47" fmla="*/ 133533 h 727"/>
                <a:gd name="T48" fmla="*/ 85390 w 526"/>
                <a:gd name="T49" fmla="*/ 142277 h 727"/>
                <a:gd name="T50" fmla="*/ 75389 w 526"/>
                <a:gd name="T51" fmla="*/ 144661 h 727"/>
                <a:gd name="T52" fmla="*/ 62312 w 526"/>
                <a:gd name="T53" fmla="*/ 139097 h 727"/>
                <a:gd name="T54" fmla="*/ 61542 w 526"/>
                <a:gd name="T55" fmla="*/ 125585 h 727"/>
                <a:gd name="T56" fmla="*/ 45387 w 526"/>
                <a:gd name="T57" fmla="*/ 123200 h 727"/>
                <a:gd name="T58" fmla="*/ 35387 w 526"/>
                <a:gd name="T59" fmla="*/ 130354 h 727"/>
                <a:gd name="T60" fmla="*/ 20001 w 526"/>
                <a:gd name="T61" fmla="*/ 127970 h 727"/>
                <a:gd name="T62" fmla="*/ 27694 w 526"/>
                <a:gd name="T63" fmla="*/ 108893 h 727"/>
                <a:gd name="T64" fmla="*/ 769 w 526"/>
                <a:gd name="T65" fmla="*/ 67562 h 727"/>
                <a:gd name="T66" fmla="*/ 6154 w 526"/>
                <a:gd name="T67" fmla="*/ 54049 h 727"/>
                <a:gd name="T68" fmla="*/ 0 w 526"/>
                <a:gd name="T69" fmla="*/ 47691 h 727"/>
                <a:gd name="T70" fmla="*/ 769 w 526"/>
                <a:gd name="T71" fmla="*/ 46896 h 72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26"/>
                <a:gd name="T109" fmla="*/ 0 h 727"/>
                <a:gd name="T110" fmla="*/ 526 w 526"/>
                <a:gd name="T111" fmla="*/ 727 h 72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26" h="727">
                  <a:moveTo>
                    <a:pt x="2" y="234"/>
                  </a:moveTo>
                  <a:lnTo>
                    <a:pt x="64" y="200"/>
                  </a:lnTo>
                  <a:lnTo>
                    <a:pt x="42" y="36"/>
                  </a:lnTo>
                  <a:lnTo>
                    <a:pt x="104" y="0"/>
                  </a:lnTo>
                  <a:lnTo>
                    <a:pt x="98" y="44"/>
                  </a:lnTo>
                  <a:lnTo>
                    <a:pt x="142" y="75"/>
                  </a:lnTo>
                  <a:lnTo>
                    <a:pt x="200" y="54"/>
                  </a:lnTo>
                  <a:lnTo>
                    <a:pt x="286" y="82"/>
                  </a:lnTo>
                  <a:lnTo>
                    <a:pt x="336" y="36"/>
                  </a:lnTo>
                  <a:lnTo>
                    <a:pt x="363" y="73"/>
                  </a:lnTo>
                  <a:lnTo>
                    <a:pt x="302" y="100"/>
                  </a:lnTo>
                  <a:lnTo>
                    <a:pt x="273" y="159"/>
                  </a:lnTo>
                  <a:lnTo>
                    <a:pt x="300" y="184"/>
                  </a:lnTo>
                  <a:lnTo>
                    <a:pt x="273" y="196"/>
                  </a:lnTo>
                  <a:lnTo>
                    <a:pt x="273" y="201"/>
                  </a:lnTo>
                  <a:lnTo>
                    <a:pt x="344" y="290"/>
                  </a:lnTo>
                  <a:lnTo>
                    <a:pt x="332" y="420"/>
                  </a:lnTo>
                  <a:lnTo>
                    <a:pt x="382" y="478"/>
                  </a:lnTo>
                  <a:lnTo>
                    <a:pt x="488" y="495"/>
                  </a:lnTo>
                  <a:lnTo>
                    <a:pt x="480" y="539"/>
                  </a:lnTo>
                  <a:lnTo>
                    <a:pt x="526" y="566"/>
                  </a:lnTo>
                  <a:lnTo>
                    <a:pt x="518" y="606"/>
                  </a:lnTo>
                  <a:lnTo>
                    <a:pt x="524" y="631"/>
                  </a:lnTo>
                  <a:lnTo>
                    <a:pt x="457" y="672"/>
                  </a:lnTo>
                  <a:lnTo>
                    <a:pt x="444" y="716"/>
                  </a:lnTo>
                  <a:lnTo>
                    <a:pt x="394" y="727"/>
                  </a:lnTo>
                  <a:lnTo>
                    <a:pt x="327" y="697"/>
                  </a:lnTo>
                  <a:lnTo>
                    <a:pt x="321" y="631"/>
                  </a:lnTo>
                  <a:lnTo>
                    <a:pt x="238" y="618"/>
                  </a:lnTo>
                  <a:lnTo>
                    <a:pt x="186" y="654"/>
                  </a:lnTo>
                  <a:lnTo>
                    <a:pt x="104" y="643"/>
                  </a:lnTo>
                  <a:lnTo>
                    <a:pt x="146" y="547"/>
                  </a:lnTo>
                  <a:lnTo>
                    <a:pt x="2" y="338"/>
                  </a:lnTo>
                  <a:lnTo>
                    <a:pt x="33" y="271"/>
                  </a:lnTo>
                  <a:lnTo>
                    <a:pt x="0" y="240"/>
                  </a:lnTo>
                  <a:lnTo>
                    <a:pt x="2" y="234"/>
                  </a:lnTo>
                  <a:close/>
                </a:path>
              </a:pathLst>
            </a:custGeom>
            <a:solidFill>
              <a:srgbClr val="B1726B"/>
            </a:solidFill>
            <a:ln w="9525">
              <a:solidFill>
                <a:srgbClr val="B1726B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74" name="Freeform 52"/>
            <p:cNvSpPr>
              <a:spLocks/>
            </p:cNvSpPr>
            <p:nvPr/>
          </p:nvSpPr>
          <p:spPr bwMode="gray">
            <a:xfrm>
              <a:off x="2638274" y="3051764"/>
              <a:ext cx="601577" cy="531812"/>
            </a:xfrm>
            <a:custGeom>
              <a:avLst/>
              <a:gdLst>
                <a:gd name="T0" fmla="*/ 3081 w 781"/>
                <a:gd name="T1" fmla="*/ 55397 h 672"/>
                <a:gd name="T2" fmla="*/ 22338 w 781"/>
                <a:gd name="T3" fmla="*/ 37987 h 672"/>
                <a:gd name="T4" fmla="*/ 16946 w 781"/>
                <a:gd name="T5" fmla="*/ 14245 h 672"/>
                <a:gd name="T6" fmla="*/ 23108 w 781"/>
                <a:gd name="T7" fmla="*/ 17411 h 672"/>
                <a:gd name="T8" fmla="*/ 33121 w 781"/>
                <a:gd name="T9" fmla="*/ 3957 h 672"/>
                <a:gd name="T10" fmla="*/ 40054 w 781"/>
                <a:gd name="T11" fmla="*/ 6331 h 672"/>
                <a:gd name="T12" fmla="*/ 41594 w 781"/>
                <a:gd name="T13" fmla="*/ 791 h 672"/>
                <a:gd name="T14" fmla="*/ 50838 w 781"/>
                <a:gd name="T15" fmla="*/ 0 h 672"/>
                <a:gd name="T16" fmla="*/ 54689 w 781"/>
                <a:gd name="T17" fmla="*/ 16619 h 672"/>
                <a:gd name="T18" fmla="*/ 74716 w 781"/>
                <a:gd name="T19" fmla="*/ 25324 h 672"/>
                <a:gd name="T20" fmla="*/ 100134 w 781"/>
                <a:gd name="T21" fmla="*/ 25324 h 672"/>
                <a:gd name="T22" fmla="*/ 101675 w 781"/>
                <a:gd name="T23" fmla="*/ 33238 h 672"/>
                <a:gd name="T24" fmla="*/ 112459 w 781"/>
                <a:gd name="T25" fmla="*/ 31655 h 672"/>
                <a:gd name="T26" fmla="*/ 122472 w 781"/>
                <a:gd name="T27" fmla="*/ 43526 h 672"/>
                <a:gd name="T28" fmla="*/ 128634 w 781"/>
                <a:gd name="T29" fmla="*/ 49857 h 672"/>
                <a:gd name="T30" fmla="*/ 123242 w 781"/>
                <a:gd name="T31" fmla="*/ 63311 h 672"/>
                <a:gd name="T32" fmla="*/ 150972 w 781"/>
                <a:gd name="T33" fmla="*/ 104463 h 672"/>
                <a:gd name="T34" fmla="*/ 142499 w 781"/>
                <a:gd name="T35" fmla="*/ 123456 h 672"/>
                <a:gd name="T36" fmla="*/ 121702 w 781"/>
                <a:gd name="T37" fmla="*/ 119499 h 672"/>
                <a:gd name="T38" fmla="*/ 116310 w 781"/>
                <a:gd name="T39" fmla="*/ 125831 h 672"/>
                <a:gd name="T40" fmla="*/ 104756 w 781"/>
                <a:gd name="T41" fmla="*/ 113960 h 672"/>
                <a:gd name="T42" fmla="*/ 90891 w 781"/>
                <a:gd name="T43" fmla="*/ 113960 h 672"/>
                <a:gd name="T44" fmla="*/ 67783 w 781"/>
                <a:gd name="T45" fmla="*/ 124248 h 672"/>
                <a:gd name="T46" fmla="*/ 58540 w 781"/>
                <a:gd name="T47" fmla="*/ 132162 h 672"/>
                <a:gd name="T48" fmla="*/ 46216 w 781"/>
                <a:gd name="T49" fmla="*/ 119499 h 672"/>
                <a:gd name="T50" fmla="*/ 30040 w 781"/>
                <a:gd name="T51" fmla="*/ 119499 h 672"/>
                <a:gd name="T52" fmla="*/ 27730 w 781"/>
                <a:gd name="T53" fmla="*/ 111586 h 672"/>
                <a:gd name="T54" fmla="*/ 12324 w 781"/>
                <a:gd name="T55" fmla="*/ 106837 h 672"/>
                <a:gd name="T56" fmla="*/ 10013 w 781"/>
                <a:gd name="T57" fmla="*/ 70433 h 672"/>
                <a:gd name="T58" fmla="*/ 0 w 781"/>
                <a:gd name="T59" fmla="*/ 57771 h 672"/>
                <a:gd name="T60" fmla="*/ 3081 w 781"/>
                <a:gd name="T61" fmla="*/ 55397 h 67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781"/>
                <a:gd name="T94" fmla="*/ 0 h 672"/>
                <a:gd name="T95" fmla="*/ 781 w 781"/>
                <a:gd name="T96" fmla="*/ 672 h 67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781" h="672">
                  <a:moveTo>
                    <a:pt x="13" y="282"/>
                  </a:moveTo>
                  <a:lnTo>
                    <a:pt x="113" y="192"/>
                  </a:lnTo>
                  <a:lnTo>
                    <a:pt x="88" y="75"/>
                  </a:lnTo>
                  <a:lnTo>
                    <a:pt x="119" y="89"/>
                  </a:lnTo>
                  <a:lnTo>
                    <a:pt x="169" y="21"/>
                  </a:lnTo>
                  <a:lnTo>
                    <a:pt x="205" y="35"/>
                  </a:lnTo>
                  <a:lnTo>
                    <a:pt x="213" y="6"/>
                  </a:lnTo>
                  <a:lnTo>
                    <a:pt x="261" y="0"/>
                  </a:lnTo>
                  <a:lnTo>
                    <a:pt x="284" y="87"/>
                  </a:lnTo>
                  <a:lnTo>
                    <a:pt x="386" y="129"/>
                  </a:lnTo>
                  <a:lnTo>
                    <a:pt x="518" y="129"/>
                  </a:lnTo>
                  <a:lnTo>
                    <a:pt x="526" y="169"/>
                  </a:lnTo>
                  <a:lnTo>
                    <a:pt x="583" y="163"/>
                  </a:lnTo>
                  <a:lnTo>
                    <a:pt x="635" y="223"/>
                  </a:lnTo>
                  <a:lnTo>
                    <a:pt x="668" y="254"/>
                  </a:lnTo>
                  <a:lnTo>
                    <a:pt x="637" y="321"/>
                  </a:lnTo>
                  <a:lnTo>
                    <a:pt x="781" y="530"/>
                  </a:lnTo>
                  <a:lnTo>
                    <a:pt x="739" y="626"/>
                  </a:lnTo>
                  <a:lnTo>
                    <a:pt x="631" y="607"/>
                  </a:lnTo>
                  <a:lnTo>
                    <a:pt x="604" y="639"/>
                  </a:lnTo>
                  <a:lnTo>
                    <a:pt x="541" y="578"/>
                  </a:lnTo>
                  <a:lnTo>
                    <a:pt x="470" y="578"/>
                  </a:lnTo>
                  <a:lnTo>
                    <a:pt x="349" y="632"/>
                  </a:lnTo>
                  <a:lnTo>
                    <a:pt x="301" y="672"/>
                  </a:lnTo>
                  <a:lnTo>
                    <a:pt x="240" y="607"/>
                  </a:lnTo>
                  <a:lnTo>
                    <a:pt x="155" y="607"/>
                  </a:lnTo>
                  <a:lnTo>
                    <a:pt x="142" y="566"/>
                  </a:lnTo>
                  <a:lnTo>
                    <a:pt x="61" y="543"/>
                  </a:lnTo>
                  <a:lnTo>
                    <a:pt x="50" y="357"/>
                  </a:lnTo>
                  <a:lnTo>
                    <a:pt x="0" y="294"/>
                  </a:lnTo>
                  <a:lnTo>
                    <a:pt x="13" y="282"/>
                  </a:lnTo>
                  <a:close/>
                </a:path>
              </a:pathLst>
            </a:custGeom>
            <a:solidFill>
              <a:srgbClr val="B1726B"/>
            </a:solidFill>
            <a:ln w="9525">
              <a:solidFill>
                <a:srgbClr val="B1726B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75" name="Freeform 57"/>
            <p:cNvSpPr>
              <a:spLocks/>
            </p:cNvSpPr>
            <p:nvPr/>
          </p:nvSpPr>
          <p:spPr bwMode="gray">
            <a:xfrm>
              <a:off x="3196772" y="3539129"/>
              <a:ext cx="390794" cy="611187"/>
            </a:xfrm>
            <a:custGeom>
              <a:avLst/>
              <a:gdLst>
                <a:gd name="T0" fmla="*/ 9213 w 509"/>
                <a:gd name="T1" fmla="*/ 113212 h 772"/>
                <a:gd name="T2" fmla="*/ 13052 w 509"/>
                <a:gd name="T3" fmla="*/ 125088 h 772"/>
                <a:gd name="T4" fmla="*/ 20730 w 509"/>
                <a:gd name="T5" fmla="*/ 133796 h 772"/>
                <a:gd name="T6" fmla="*/ 18426 w 509"/>
                <a:gd name="T7" fmla="*/ 144088 h 772"/>
                <a:gd name="T8" fmla="*/ 26104 w 509"/>
                <a:gd name="T9" fmla="*/ 142505 h 772"/>
                <a:gd name="T10" fmla="*/ 39156 w 509"/>
                <a:gd name="T11" fmla="*/ 152005 h 772"/>
                <a:gd name="T12" fmla="*/ 45298 w 509"/>
                <a:gd name="T13" fmla="*/ 141713 h 772"/>
                <a:gd name="T14" fmla="*/ 50673 w 509"/>
                <a:gd name="T15" fmla="*/ 140921 h 772"/>
                <a:gd name="T16" fmla="*/ 56047 w 509"/>
                <a:gd name="T17" fmla="*/ 150422 h 772"/>
                <a:gd name="T18" fmla="*/ 61421 w 509"/>
                <a:gd name="T19" fmla="*/ 141713 h 772"/>
                <a:gd name="T20" fmla="*/ 76009 w 509"/>
                <a:gd name="T21" fmla="*/ 149630 h 772"/>
                <a:gd name="T22" fmla="*/ 76009 w 509"/>
                <a:gd name="T23" fmla="*/ 149630 h 772"/>
                <a:gd name="T24" fmla="*/ 76777 w 509"/>
                <a:gd name="T25" fmla="*/ 142505 h 772"/>
                <a:gd name="T26" fmla="*/ 80616 w 509"/>
                <a:gd name="T27" fmla="*/ 111629 h 772"/>
                <a:gd name="T28" fmla="*/ 87526 w 509"/>
                <a:gd name="T29" fmla="*/ 97378 h 772"/>
                <a:gd name="T30" fmla="*/ 85990 w 509"/>
                <a:gd name="T31" fmla="*/ 81544 h 772"/>
                <a:gd name="T32" fmla="*/ 97507 w 509"/>
                <a:gd name="T33" fmla="*/ 58585 h 772"/>
                <a:gd name="T34" fmla="*/ 87526 w 509"/>
                <a:gd name="T35" fmla="*/ 8709 h 772"/>
                <a:gd name="T36" fmla="*/ 83687 w 509"/>
                <a:gd name="T37" fmla="*/ 0 h 772"/>
                <a:gd name="T38" fmla="*/ 69867 w 509"/>
                <a:gd name="T39" fmla="*/ 7125 h 772"/>
                <a:gd name="T40" fmla="*/ 68331 w 509"/>
                <a:gd name="T41" fmla="*/ 16626 h 772"/>
                <a:gd name="T42" fmla="*/ 58350 w 509"/>
                <a:gd name="T43" fmla="*/ 18209 h 772"/>
                <a:gd name="T44" fmla="*/ 55279 w 509"/>
                <a:gd name="T45" fmla="*/ 34043 h 772"/>
                <a:gd name="T46" fmla="*/ 48369 w 509"/>
                <a:gd name="T47" fmla="*/ 31668 h 772"/>
                <a:gd name="T48" fmla="*/ 48369 w 509"/>
                <a:gd name="T49" fmla="*/ 45918 h 772"/>
                <a:gd name="T50" fmla="*/ 40692 w 509"/>
                <a:gd name="T51" fmla="*/ 48293 h 772"/>
                <a:gd name="T52" fmla="*/ 41459 w 509"/>
                <a:gd name="T53" fmla="*/ 54627 h 772"/>
                <a:gd name="T54" fmla="*/ 33782 w 509"/>
                <a:gd name="T55" fmla="*/ 56210 h 772"/>
                <a:gd name="T56" fmla="*/ 27640 w 509"/>
                <a:gd name="T57" fmla="*/ 68086 h 772"/>
                <a:gd name="T58" fmla="*/ 15355 w 509"/>
                <a:gd name="T59" fmla="*/ 69669 h 772"/>
                <a:gd name="T60" fmla="*/ 0 w 509"/>
                <a:gd name="T61" fmla="*/ 86295 h 772"/>
                <a:gd name="T62" fmla="*/ 0 w 509"/>
                <a:gd name="T63" fmla="*/ 91045 h 772"/>
                <a:gd name="T64" fmla="*/ 9213 w 509"/>
                <a:gd name="T65" fmla="*/ 113212 h 77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509"/>
                <a:gd name="T100" fmla="*/ 0 h 772"/>
                <a:gd name="T101" fmla="*/ 509 w 509"/>
                <a:gd name="T102" fmla="*/ 772 h 77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509" h="772">
                  <a:moveTo>
                    <a:pt x="48" y="574"/>
                  </a:moveTo>
                  <a:lnTo>
                    <a:pt x="70" y="636"/>
                  </a:lnTo>
                  <a:lnTo>
                    <a:pt x="108" y="678"/>
                  </a:lnTo>
                  <a:lnTo>
                    <a:pt x="98" y="732"/>
                  </a:lnTo>
                  <a:lnTo>
                    <a:pt x="137" y="722"/>
                  </a:lnTo>
                  <a:lnTo>
                    <a:pt x="204" y="772"/>
                  </a:lnTo>
                  <a:lnTo>
                    <a:pt x="238" y="720"/>
                  </a:lnTo>
                  <a:lnTo>
                    <a:pt x="267" y="714"/>
                  </a:lnTo>
                  <a:lnTo>
                    <a:pt x="294" y="762"/>
                  </a:lnTo>
                  <a:lnTo>
                    <a:pt x="321" y="718"/>
                  </a:lnTo>
                  <a:lnTo>
                    <a:pt x="396" y="760"/>
                  </a:lnTo>
                  <a:lnTo>
                    <a:pt x="398" y="758"/>
                  </a:lnTo>
                  <a:lnTo>
                    <a:pt x="402" y="724"/>
                  </a:lnTo>
                  <a:lnTo>
                    <a:pt x="421" y="568"/>
                  </a:lnTo>
                  <a:lnTo>
                    <a:pt x="459" y="495"/>
                  </a:lnTo>
                  <a:lnTo>
                    <a:pt x="448" y="415"/>
                  </a:lnTo>
                  <a:lnTo>
                    <a:pt x="509" y="296"/>
                  </a:lnTo>
                  <a:lnTo>
                    <a:pt x="459" y="46"/>
                  </a:lnTo>
                  <a:lnTo>
                    <a:pt x="436" y="0"/>
                  </a:lnTo>
                  <a:lnTo>
                    <a:pt x="367" y="37"/>
                  </a:lnTo>
                  <a:lnTo>
                    <a:pt x="356" y="85"/>
                  </a:lnTo>
                  <a:lnTo>
                    <a:pt x="306" y="94"/>
                  </a:lnTo>
                  <a:lnTo>
                    <a:pt x="290" y="175"/>
                  </a:lnTo>
                  <a:lnTo>
                    <a:pt x="252" y="160"/>
                  </a:lnTo>
                  <a:lnTo>
                    <a:pt x="254" y="233"/>
                  </a:lnTo>
                  <a:lnTo>
                    <a:pt x="212" y="244"/>
                  </a:lnTo>
                  <a:lnTo>
                    <a:pt x="219" y="279"/>
                  </a:lnTo>
                  <a:lnTo>
                    <a:pt x="179" y="284"/>
                  </a:lnTo>
                  <a:lnTo>
                    <a:pt x="144" y="346"/>
                  </a:lnTo>
                  <a:lnTo>
                    <a:pt x="83" y="352"/>
                  </a:lnTo>
                  <a:lnTo>
                    <a:pt x="0" y="438"/>
                  </a:lnTo>
                  <a:lnTo>
                    <a:pt x="0" y="463"/>
                  </a:lnTo>
                  <a:lnTo>
                    <a:pt x="48" y="574"/>
                  </a:lnTo>
                  <a:close/>
                </a:path>
              </a:pathLst>
            </a:custGeom>
            <a:solidFill>
              <a:srgbClr val="CEA09D"/>
            </a:solidFill>
            <a:ln w="9525">
              <a:solidFill>
                <a:srgbClr val="CEA09D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76" name="Freeform 60"/>
            <p:cNvSpPr>
              <a:spLocks/>
            </p:cNvSpPr>
            <p:nvPr/>
          </p:nvSpPr>
          <p:spPr bwMode="gray">
            <a:xfrm>
              <a:off x="2425954" y="3778839"/>
              <a:ext cx="613885" cy="690562"/>
            </a:xfrm>
            <a:custGeom>
              <a:avLst/>
              <a:gdLst>
                <a:gd name="T0" fmla="*/ 1537 w 799"/>
                <a:gd name="T1" fmla="*/ 81850 h 869"/>
                <a:gd name="T2" fmla="*/ 768 w 799"/>
                <a:gd name="T3" fmla="*/ 89002 h 869"/>
                <a:gd name="T4" fmla="*/ 9988 w 799"/>
                <a:gd name="T5" fmla="*/ 90592 h 869"/>
                <a:gd name="T6" fmla="*/ 2305 w 799"/>
                <a:gd name="T7" fmla="*/ 100128 h 869"/>
                <a:gd name="T8" fmla="*/ 12293 w 799"/>
                <a:gd name="T9" fmla="*/ 108074 h 869"/>
                <a:gd name="T10" fmla="*/ 27659 w 799"/>
                <a:gd name="T11" fmla="*/ 101717 h 869"/>
                <a:gd name="T12" fmla="*/ 35343 w 799"/>
                <a:gd name="T13" fmla="*/ 108074 h 869"/>
                <a:gd name="T14" fmla="*/ 30733 w 799"/>
                <a:gd name="T15" fmla="*/ 110458 h 869"/>
                <a:gd name="T16" fmla="*/ 44562 w 799"/>
                <a:gd name="T17" fmla="*/ 112047 h 869"/>
                <a:gd name="T18" fmla="*/ 60697 w 799"/>
                <a:gd name="T19" fmla="*/ 127941 h 869"/>
                <a:gd name="T20" fmla="*/ 72990 w 799"/>
                <a:gd name="T21" fmla="*/ 160522 h 869"/>
                <a:gd name="T22" fmla="*/ 84515 w 799"/>
                <a:gd name="T23" fmla="*/ 168469 h 869"/>
                <a:gd name="T24" fmla="*/ 99881 w 799"/>
                <a:gd name="T25" fmla="*/ 166085 h 869"/>
                <a:gd name="T26" fmla="*/ 102954 w 799"/>
                <a:gd name="T27" fmla="*/ 173236 h 869"/>
                <a:gd name="T28" fmla="*/ 115248 w 799"/>
                <a:gd name="T29" fmla="*/ 173236 h 869"/>
                <a:gd name="T30" fmla="*/ 116016 w 799"/>
                <a:gd name="T31" fmla="*/ 153370 h 869"/>
                <a:gd name="T32" fmla="*/ 131382 w 799"/>
                <a:gd name="T33" fmla="*/ 155754 h 869"/>
                <a:gd name="T34" fmla="*/ 135224 w 799"/>
                <a:gd name="T35" fmla="*/ 145423 h 869"/>
                <a:gd name="T36" fmla="*/ 145212 w 799"/>
                <a:gd name="T37" fmla="*/ 142245 h 869"/>
                <a:gd name="T38" fmla="*/ 152895 w 799"/>
                <a:gd name="T39" fmla="*/ 127941 h 869"/>
                <a:gd name="T40" fmla="*/ 135992 w 799"/>
                <a:gd name="T41" fmla="*/ 119199 h 869"/>
                <a:gd name="T42" fmla="*/ 145212 w 799"/>
                <a:gd name="T43" fmla="*/ 106485 h 869"/>
                <a:gd name="T44" fmla="*/ 129077 w 799"/>
                <a:gd name="T45" fmla="*/ 103306 h 869"/>
                <a:gd name="T46" fmla="*/ 131382 w 799"/>
                <a:gd name="T47" fmla="*/ 98538 h 869"/>
                <a:gd name="T48" fmla="*/ 120626 w 799"/>
                <a:gd name="T49" fmla="*/ 94565 h 869"/>
                <a:gd name="T50" fmla="*/ 122931 w 799"/>
                <a:gd name="T51" fmla="*/ 69930 h 869"/>
                <a:gd name="T52" fmla="*/ 107564 w 799"/>
                <a:gd name="T53" fmla="*/ 41322 h 869"/>
                <a:gd name="T54" fmla="*/ 103723 w 799"/>
                <a:gd name="T55" fmla="*/ 22251 h 869"/>
                <a:gd name="T56" fmla="*/ 96808 w 799"/>
                <a:gd name="T57" fmla="*/ 10331 h 869"/>
                <a:gd name="T58" fmla="*/ 87588 w 799"/>
                <a:gd name="T59" fmla="*/ 10331 h 869"/>
                <a:gd name="T60" fmla="*/ 85283 w 799"/>
                <a:gd name="T61" fmla="*/ 0 h 869"/>
                <a:gd name="T62" fmla="*/ 72222 w 799"/>
                <a:gd name="T63" fmla="*/ 12715 h 869"/>
                <a:gd name="T64" fmla="*/ 59929 w 799"/>
                <a:gd name="T65" fmla="*/ 39733 h 869"/>
                <a:gd name="T66" fmla="*/ 45331 w 799"/>
                <a:gd name="T67" fmla="*/ 36554 h 869"/>
                <a:gd name="T68" fmla="*/ 34574 w 799"/>
                <a:gd name="T69" fmla="*/ 42912 h 869"/>
                <a:gd name="T70" fmla="*/ 0 w 799"/>
                <a:gd name="T71" fmla="*/ 61984 h 869"/>
                <a:gd name="T72" fmla="*/ 1537 w 799"/>
                <a:gd name="T73" fmla="*/ 81850 h 86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799"/>
                <a:gd name="T112" fmla="*/ 0 h 869"/>
                <a:gd name="T113" fmla="*/ 799 w 799"/>
                <a:gd name="T114" fmla="*/ 869 h 869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799" h="869">
                  <a:moveTo>
                    <a:pt x="10" y="412"/>
                  </a:moveTo>
                  <a:lnTo>
                    <a:pt x="4" y="445"/>
                  </a:lnTo>
                  <a:lnTo>
                    <a:pt x="54" y="456"/>
                  </a:lnTo>
                  <a:lnTo>
                    <a:pt x="14" y="502"/>
                  </a:lnTo>
                  <a:lnTo>
                    <a:pt x="66" y="543"/>
                  </a:lnTo>
                  <a:lnTo>
                    <a:pt x="144" y="512"/>
                  </a:lnTo>
                  <a:lnTo>
                    <a:pt x="185" y="543"/>
                  </a:lnTo>
                  <a:lnTo>
                    <a:pt x="162" y="556"/>
                  </a:lnTo>
                  <a:lnTo>
                    <a:pt x="235" y="564"/>
                  </a:lnTo>
                  <a:lnTo>
                    <a:pt x="317" y="642"/>
                  </a:lnTo>
                  <a:lnTo>
                    <a:pt x="381" y="806"/>
                  </a:lnTo>
                  <a:lnTo>
                    <a:pt x="440" y="846"/>
                  </a:lnTo>
                  <a:lnTo>
                    <a:pt x="521" y="834"/>
                  </a:lnTo>
                  <a:lnTo>
                    <a:pt x="538" y="869"/>
                  </a:lnTo>
                  <a:lnTo>
                    <a:pt x="601" y="869"/>
                  </a:lnTo>
                  <a:lnTo>
                    <a:pt x="605" y="771"/>
                  </a:lnTo>
                  <a:lnTo>
                    <a:pt x="684" y="784"/>
                  </a:lnTo>
                  <a:lnTo>
                    <a:pt x="705" y="731"/>
                  </a:lnTo>
                  <a:lnTo>
                    <a:pt x="759" y="715"/>
                  </a:lnTo>
                  <a:lnTo>
                    <a:pt x="799" y="642"/>
                  </a:lnTo>
                  <a:lnTo>
                    <a:pt x="709" y="600"/>
                  </a:lnTo>
                  <a:lnTo>
                    <a:pt x="759" y="535"/>
                  </a:lnTo>
                  <a:lnTo>
                    <a:pt x="674" y="520"/>
                  </a:lnTo>
                  <a:lnTo>
                    <a:pt x="684" y="495"/>
                  </a:lnTo>
                  <a:lnTo>
                    <a:pt x="630" y="474"/>
                  </a:lnTo>
                  <a:lnTo>
                    <a:pt x="642" y="351"/>
                  </a:lnTo>
                  <a:lnTo>
                    <a:pt x="563" y="205"/>
                  </a:lnTo>
                  <a:lnTo>
                    <a:pt x="540" y="111"/>
                  </a:lnTo>
                  <a:lnTo>
                    <a:pt x="507" y="51"/>
                  </a:lnTo>
                  <a:lnTo>
                    <a:pt x="459" y="51"/>
                  </a:lnTo>
                  <a:lnTo>
                    <a:pt x="444" y="0"/>
                  </a:lnTo>
                  <a:lnTo>
                    <a:pt x="379" y="63"/>
                  </a:lnTo>
                  <a:lnTo>
                    <a:pt x="315" y="199"/>
                  </a:lnTo>
                  <a:lnTo>
                    <a:pt x="237" y="184"/>
                  </a:lnTo>
                  <a:lnTo>
                    <a:pt x="183" y="216"/>
                  </a:lnTo>
                  <a:lnTo>
                    <a:pt x="0" y="309"/>
                  </a:lnTo>
                  <a:lnTo>
                    <a:pt x="10" y="412"/>
                  </a:lnTo>
                  <a:close/>
                </a:path>
              </a:pathLst>
            </a:custGeom>
            <a:solidFill>
              <a:srgbClr val="CEA09D"/>
            </a:solidFill>
            <a:ln w="9525">
              <a:solidFill>
                <a:srgbClr val="CEA09D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77" name="Freeform 63"/>
            <p:cNvSpPr>
              <a:spLocks/>
            </p:cNvSpPr>
            <p:nvPr/>
          </p:nvSpPr>
          <p:spPr bwMode="gray">
            <a:xfrm>
              <a:off x="2510761" y="3482212"/>
              <a:ext cx="493311" cy="470572"/>
            </a:xfrm>
            <a:custGeom>
              <a:avLst/>
              <a:gdLst>
                <a:gd name="T0" fmla="*/ 1 w 641"/>
                <a:gd name="T1" fmla="*/ 90 h 593"/>
                <a:gd name="T2" fmla="*/ 13 w 641"/>
                <a:gd name="T3" fmla="*/ 119 h 593"/>
                <a:gd name="T4" fmla="*/ 7 w 641"/>
                <a:gd name="T5" fmla="*/ 134 h 593"/>
                <a:gd name="T6" fmla="*/ 17 w 641"/>
                <a:gd name="T7" fmla="*/ 149 h 593"/>
                <a:gd name="T8" fmla="*/ 32 w 641"/>
                <a:gd name="T9" fmla="*/ 140 h 593"/>
                <a:gd name="T10" fmla="*/ 51 w 641"/>
                <a:gd name="T11" fmla="*/ 143 h 593"/>
                <a:gd name="T12" fmla="*/ 67 w 641"/>
                <a:gd name="T13" fmla="*/ 110 h 593"/>
                <a:gd name="T14" fmla="*/ 82 w 641"/>
                <a:gd name="T15" fmla="*/ 95 h 593"/>
                <a:gd name="T16" fmla="*/ 88 w 641"/>
                <a:gd name="T17" fmla="*/ 107 h 593"/>
                <a:gd name="T18" fmla="*/ 100 w 641"/>
                <a:gd name="T19" fmla="*/ 107 h 593"/>
                <a:gd name="T20" fmla="*/ 107 w 641"/>
                <a:gd name="T21" fmla="*/ 122 h 593"/>
                <a:gd name="T22" fmla="*/ 113 w 641"/>
                <a:gd name="T23" fmla="*/ 145 h 593"/>
                <a:gd name="T24" fmla="*/ 115 w 641"/>
                <a:gd name="T25" fmla="*/ 142 h 593"/>
                <a:gd name="T26" fmla="*/ 128 w 641"/>
                <a:gd name="T27" fmla="*/ 104 h 593"/>
                <a:gd name="T28" fmla="*/ 139 w 641"/>
                <a:gd name="T29" fmla="*/ 107 h 593"/>
                <a:gd name="T30" fmla="*/ 145 w 641"/>
                <a:gd name="T31" fmla="*/ 94 h 593"/>
                <a:gd name="T32" fmla="*/ 161 w 641"/>
                <a:gd name="T33" fmla="*/ 89 h 593"/>
                <a:gd name="T34" fmla="*/ 151 w 641"/>
                <a:gd name="T35" fmla="*/ 65 h 593"/>
                <a:gd name="T36" fmla="*/ 159 w 641"/>
                <a:gd name="T37" fmla="*/ 66 h 593"/>
                <a:gd name="T38" fmla="*/ 143 w 641"/>
                <a:gd name="T39" fmla="*/ 36 h 593"/>
                <a:gd name="T40" fmla="*/ 126 w 641"/>
                <a:gd name="T41" fmla="*/ 33 h 593"/>
                <a:gd name="T42" fmla="*/ 129 w 641"/>
                <a:gd name="T43" fmla="*/ 23 h 593"/>
                <a:gd name="T44" fmla="*/ 117 w 641"/>
                <a:gd name="T45" fmla="*/ 33 h 593"/>
                <a:gd name="T46" fmla="*/ 102 w 641"/>
                <a:gd name="T47" fmla="*/ 16 h 593"/>
                <a:gd name="T48" fmla="*/ 80 w 641"/>
                <a:gd name="T49" fmla="*/ 16 h 593"/>
                <a:gd name="T50" fmla="*/ 79 w 641"/>
                <a:gd name="T51" fmla="*/ 7 h 593"/>
                <a:gd name="T52" fmla="*/ 58 w 641"/>
                <a:gd name="T53" fmla="*/ 0 h 593"/>
                <a:gd name="T54" fmla="*/ 58 w 641"/>
                <a:gd name="T55" fmla="*/ 16 h 593"/>
                <a:gd name="T56" fmla="*/ 36 w 641"/>
                <a:gd name="T57" fmla="*/ 11 h 593"/>
                <a:gd name="T58" fmla="*/ 36 w 641"/>
                <a:gd name="T59" fmla="*/ 23 h 593"/>
                <a:gd name="T60" fmla="*/ 17 w 641"/>
                <a:gd name="T61" fmla="*/ 43 h 593"/>
                <a:gd name="T62" fmla="*/ 21 w 641"/>
                <a:gd name="T63" fmla="*/ 52 h 593"/>
                <a:gd name="T64" fmla="*/ 14 w 641"/>
                <a:gd name="T65" fmla="*/ 67 h 593"/>
                <a:gd name="T66" fmla="*/ 4 w 641"/>
                <a:gd name="T67" fmla="*/ 72 h 593"/>
                <a:gd name="T68" fmla="*/ 8 w 641"/>
                <a:gd name="T69" fmla="*/ 85 h 593"/>
                <a:gd name="T70" fmla="*/ 0 w 641"/>
                <a:gd name="T71" fmla="*/ 86 h 593"/>
                <a:gd name="T72" fmla="*/ 1 w 641"/>
                <a:gd name="T73" fmla="*/ 90 h 59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41"/>
                <a:gd name="T112" fmla="*/ 0 h 593"/>
                <a:gd name="T113" fmla="*/ 641 w 641"/>
                <a:gd name="T114" fmla="*/ 593 h 59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41" h="593">
                  <a:moveTo>
                    <a:pt x="2" y="359"/>
                  </a:moveTo>
                  <a:lnTo>
                    <a:pt x="50" y="474"/>
                  </a:lnTo>
                  <a:lnTo>
                    <a:pt x="27" y="536"/>
                  </a:lnTo>
                  <a:lnTo>
                    <a:pt x="67" y="593"/>
                  </a:lnTo>
                  <a:lnTo>
                    <a:pt x="125" y="559"/>
                  </a:lnTo>
                  <a:lnTo>
                    <a:pt x="203" y="572"/>
                  </a:lnTo>
                  <a:lnTo>
                    <a:pt x="265" y="438"/>
                  </a:lnTo>
                  <a:lnTo>
                    <a:pt x="328" y="378"/>
                  </a:lnTo>
                  <a:lnTo>
                    <a:pt x="351" y="426"/>
                  </a:lnTo>
                  <a:lnTo>
                    <a:pt x="399" y="426"/>
                  </a:lnTo>
                  <a:lnTo>
                    <a:pt x="428" y="486"/>
                  </a:lnTo>
                  <a:lnTo>
                    <a:pt x="451" y="580"/>
                  </a:lnTo>
                  <a:lnTo>
                    <a:pt x="457" y="568"/>
                  </a:lnTo>
                  <a:lnTo>
                    <a:pt x="512" y="413"/>
                  </a:lnTo>
                  <a:lnTo>
                    <a:pt x="553" y="426"/>
                  </a:lnTo>
                  <a:lnTo>
                    <a:pt x="578" y="375"/>
                  </a:lnTo>
                  <a:lnTo>
                    <a:pt x="641" y="353"/>
                  </a:lnTo>
                  <a:lnTo>
                    <a:pt x="604" y="257"/>
                  </a:lnTo>
                  <a:lnTo>
                    <a:pt x="635" y="261"/>
                  </a:lnTo>
                  <a:lnTo>
                    <a:pt x="572" y="142"/>
                  </a:lnTo>
                  <a:lnTo>
                    <a:pt x="503" y="129"/>
                  </a:lnTo>
                  <a:lnTo>
                    <a:pt x="514" y="89"/>
                  </a:lnTo>
                  <a:lnTo>
                    <a:pt x="466" y="129"/>
                  </a:lnTo>
                  <a:lnTo>
                    <a:pt x="405" y="64"/>
                  </a:lnTo>
                  <a:lnTo>
                    <a:pt x="320" y="62"/>
                  </a:lnTo>
                  <a:lnTo>
                    <a:pt x="315" y="27"/>
                  </a:lnTo>
                  <a:lnTo>
                    <a:pt x="230" y="0"/>
                  </a:lnTo>
                  <a:lnTo>
                    <a:pt x="230" y="64"/>
                  </a:lnTo>
                  <a:lnTo>
                    <a:pt x="144" y="41"/>
                  </a:lnTo>
                  <a:lnTo>
                    <a:pt x="144" y="91"/>
                  </a:lnTo>
                  <a:lnTo>
                    <a:pt x="67" y="171"/>
                  </a:lnTo>
                  <a:lnTo>
                    <a:pt x="82" y="208"/>
                  </a:lnTo>
                  <a:lnTo>
                    <a:pt x="54" y="267"/>
                  </a:lnTo>
                  <a:lnTo>
                    <a:pt x="15" y="288"/>
                  </a:lnTo>
                  <a:lnTo>
                    <a:pt x="32" y="338"/>
                  </a:lnTo>
                  <a:lnTo>
                    <a:pt x="0" y="344"/>
                  </a:lnTo>
                  <a:lnTo>
                    <a:pt x="2" y="359"/>
                  </a:lnTo>
                  <a:close/>
                </a:path>
              </a:pathLst>
            </a:custGeom>
            <a:solidFill>
              <a:srgbClr val="99DFB9"/>
            </a:solidFill>
            <a:ln w="9525">
              <a:solidFill>
                <a:srgbClr val="99DFB9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anchor="ctr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FFFFFF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78" name="Freeform 64"/>
            <p:cNvSpPr>
              <a:spLocks/>
            </p:cNvSpPr>
            <p:nvPr/>
          </p:nvSpPr>
          <p:spPr bwMode="gray">
            <a:xfrm>
              <a:off x="2196343" y="3318535"/>
              <a:ext cx="493311" cy="461271"/>
            </a:xfrm>
            <a:custGeom>
              <a:avLst/>
              <a:gdLst>
                <a:gd name="T0" fmla="*/ 1 w 639"/>
                <a:gd name="T1" fmla="*/ 96 h 583"/>
                <a:gd name="T2" fmla="*/ 22 w 639"/>
                <a:gd name="T3" fmla="*/ 110 h 583"/>
                <a:gd name="T4" fmla="*/ 18 w 639"/>
                <a:gd name="T5" fmla="*/ 113 h 583"/>
                <a:gd name="T6" fmla="*/ 27 w 639"/>
                <a:gd name="T7" fmla="*/ 128 h 583"/>
                <a:gd name="T8" fmla="*/ 49 w 639"/>
                <a:gd name="T9" fmla="*/ 126 h 583"/>
                <a:gd name="T10" fmla="*/ 66 w 639"/>
                <a:gd name="T11" fmla="*/ 145 h 583"/>
                <a:gd name="T12" fmla="*/ 103 w 639"/>
                <a:gd name="T13" fmla="*/ 137 h 583"/>
                <a:gd name="T14" fmla="*/ 111 w 639"/>
                <a:gd name="T15" fmla="*/ 137 h 583"/>
                <a:gd name="T16" fmla="*/ 106 w 639"/>
                <a:gd name="T17" fmla="*/ 123 h 583"/>
                <a:gd name="T18" fmla="*/ 115 w 639"/>
                <a:gd name="T19" fmla="*/ 119 h 583"/>
                <a:gd name="T20" fmla="*/ 123 w 639"/>
                <a:gd name="T21" fmla="*/ 103 h 583"/>
                <a:gd name="T22" fmla="*/ 120 w 639"/>
                <a:gd name="T23" fmla="*/ 94 h 583"/>
                <a:gd name="T24" fmla="*/ 139 w 639"/>
                <a:gd name="T25" fmla="*/ 74 h 583"/>
                <a:gd name="T26" fmla="*/ 139 w 639"/>
                <a:gd name="T27" fmla="*/ 62 h 583"/>
                <a:gd name="T28" fmla="*/ 160 w 639"/>
                <a:gd name="T29" fmla="*/ 67 h 583"/>
                <a:gd name="T30" fmla="*/ 160 w 639"/>
                <a:gd name="T31" fmla="*/ 51 h 583"/>
                <a:gd name="T32" fmla="*/ 157 w 639"/>
                <a:gd name="T33" fmla="*/ 4 h 583"/>
                <a:gd name="T34" fmla="*/ 129 w 639"/>
                <a:gd name="T35" fmla="*/ 18 h 583"/>
                <a:gd name="T36" fmla="*/ 103 w 639"/>
                <a:gd name="T37" fmla="*/ 0 h 583"/>
                <a:gd name="T38" fmla="*/ 84 w 639"/>
                <a:gd name="T39" fmla="*/ 10 h 583"/>
                <a:gd name="T40" fmla="*/ 5 w 639"/>
                <a:gd name="T41" fmla="*/ 52 h 583"/>
                <a:gd name="T42" fmla="*/ 13 w 639"/>
                <a:gd name="T43" fmla="*/ 63 h 583"/>
                <a:gd name="T44" fmla="*/ 2 w 639"/>
                <a:gd name="T45" fmla="*/ 74 h 583"/>
                <a:gd name="T46" fmla="*/ 7 w 639"/>
                <a:gd name="T47" fmla="*/ 88 h 583"/>
                <a:gd name="T48" fmla="*/ 0 w 639"/>
                <a:gd name="T49" fmla="*/ 93 h 583"/>
                <a:gd name="T50" fmla="*/ 1 w 639"/>
                <a:gd name="T51" fmla="*/ 96 h 58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39"/>
                <a:gd name="T79" fmla="*/ 0 h 583"/>
                <a:gd name="T80" fmla="*/ 639 w 639"/>
                <a:gd name="T81" fmla="*/ 583 h 583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39" h="583">
                  <a:moveTo>
                    <a:pt x="4" y="386"/>
                  </a:moveTo>
                  <a:lnTo>
                    <a:pt x="88" y="441"/>
                  </a:lnTo>
                  <a:lnTo>
                    <a:pt x="71" y="455"/>
                  </a:lnTo>
                  <a:lnTo>
                    <a:pt x="106" y="512"/>
                  </a:lnTo>
                  <a:lnTo>
                    <a:pt x="194" y="507"/>
                  </a:lnTo>
                  <a:lnTo>
                    <a:pt x="263" y="583"/>
                  </a:lnTo>
                  <a:lnTo>
                    <a:pt x="411" y="549"/>
                  </a:lnTo>
                  <a:lnTo>
                    <a:pt x="443" y="549"/>
                  </a:lnTo>
                  <a:lnTo>
                    <a:pt x="424" y="493"/>
                  </a:lnTo>
                  <a:lnTo>
                    <a:pt x="459" y="476"/>
                  </a:lnTo>
                  <a:lnTo>
                    <a:pt x="491" y="415"/>
                  </a:lnTo>
                  <a:lnTo>
                    <a:pt x="478" y="378"/>
                  </a:lnTo>
                  <a:lnTo>
                    <a:pt x="555" y="298"/>
                  </a:lnTo>
                  <a:lnTo>
                    <a:pt x="555" y="248"/>
                  </a:lnTo>
                  <a:lnTo>
                    <a:pt x="637" y="269"/>
                  </a:lnTo>
                  <a:lnTo>
                    <a:pt x="639" y="207"/>
                  </a:lnTo>
                  <a:lnTo>
                    <a:pt x="628" y="19"/>
                  </a:lnTo>
                  <a:lnTo>
                    <a:pt x="516" y="73"/>
                  </a:lnTo>
                  <a:lnTo>
                    <a:pt x="411" y="0"/>
                  </a:lnTo>
                  <a:lnTo>
                    <a:pt x="334" y="40"/>
                  </a:lnTo>
                  <a:lnTo>
                    <a:pt x="19" y="211"/>
                  </a:lnTo>
                  <a:lnTo>
                    <a:pt x="52" y="255"/>
                  </a:lnTo>
                  <a:lnTo>
                    <a:pt x="8" y="299"/>
                  </a:lnTo>
                  <a:lnTo>
                    <a:pt x="25" y="355"/>
                  </a:lnTo>
                  <a:lnTo>
                    <a:pt x="0" y="374"/>
                  </a:lnTo>
                  <a:lnTo>
                    <a:pt x="4" y="386"/>
                  </a:lnTo>
                  <a:close/>
                </a:path>
              </a:pathLst>
            </a:custGeom>
            <a:solidFill>
              <a:srgbClr val="99DFB9"/>
            </a:solidFill>
            <a:ln w="9525">
              <a:solidFill>
                <a:srgbClr val="99DFB9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anchor="ctr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FFFFFF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79" name="Freeform 68"/>
            <p:cNvSpPr>
              <a:spLocks/>
            </p:cNvSpPr>
            <p:nvPr/>
          </p:nvSpPr>
          <p:spPr bwMode="gray">
            <a:xfrm>
              <a:off x="2967527" y="4042364"/>
              <a:ext cx="610808" cy="557212"/>
            </a:xfrm>
            <a:custGeom>
              <a:avLst/>
              <a:gdLst>
                <a:gd name="T0" fmla="*/ 0 w 795"/>
                <a:gd name="T1" fmla="*/ 53333 h 700"/>
                <a:gd name="T2" fmla="*/ 9988 w 795"/>
                <a:gd name="T3" fmla="*/ 40597 h 700"/>
                <a:gd name="T4" fmla="*/ 26891 w 795"/>
                <a:gd name="T5" fmla="*/ 49353 h 700"/>
                <a:gd name="T6" fmla="*/ 35342 w 795"/>
                <a:gd name="T7" fmla="*/ 47761 h 700"/>
                <a:gd name="T8" fmla="*/ 38416 w 795"/>
                <a:gd name="T9" fmla="*/ 38209 h 700"/>
                <a:gd name="T10" fmla="*/ 49172 w 795"/>
                <a:gd name="T11" fmla="*/ 46169 h 700"/>
                <a:gd name="T12" fmla="*/ 67611 w 795"/>
                <a:gd name="T13" fmla="*/ 42189 h 700"/>
                <a:gd name="T14" fmla="*/ 65307 w 795"/>
                <a:gd name="T15" fmla="*/ 17512 h 700"/>
                <a:gd name="T16" fmla="*/ 59928 w 795"/>
                <a:gd name="T17" fmla="*/ 11144 h 700"/>
                <a:gd name="T18" fmla="*/ 69916 w 795"/>
                <a:gd name="T19" fmla="*/ 0 h 700"/>
                <a:gd name="T20" fmla="*/ 76831 w 795"/>
                <a:gd name="T21" fmla="*/ 7960 h 700"/>
                <a:gd name="T22" fmla="*/ 75295 w 795"/>
                <a:gd name="T23" fmla="*/ 20696 h 700"/>
                <a:gd name="T24" fmla="*/ 82978 w 795"/>
                <a:gd name="T25" fmla="*/ 17512 h 700"/>
                <a:gd name="T26" fmla="*/ 95271 w 795"/>
                <a:gd name="T27" fmla="*/ 27065 h 700"/>
                <a:gd name="T28" fmla="*/ 102186 w 795"/>
                <a:gd name="T29" fmla="*/ 16716 h 700"/>
                <a:gd name="T30" fmla="*/ 107564 w 795"/>
                <a:gd name="T31" fmla="*/ 15124 h 700"/>
                <a:gd name="T32" fmla="*/ 112174 w 795"/>
                <a:gd name="T33" fmla="*/ 23881 h 700"/>
                <a:gd name="T34" fmla="*/ 119088 w 795"/>
                <a:gd name="T35" fmla="*/ 15920 h 700"/>
                <a:gd name="T36" fmla="*/ 132918 w 795"/>
                <a:gd name="T37" fmla="*/ 24677 h 700"/>
                <a:gd name="T38" fmla="*/ 140601 w 795"/>
                <a:gd name="T39" fmla="*/ 36617 h 700"/>
                <a:gd name="T40" fmla="*/ 139064 w 795"/>
                <a:gd name="T41" fmla="*/ 47761 h 700"/>
                <a:gd name="T42" fmla="*/ 152126 w 795"/>
                <a:gd name="T43" fmla="*/ 61293 h 700"/>
                <a:gd name="T44" fmla="*/ 142906 w 795"/>
                <a:gd name="T45" fmla="*/ 74030 h 700"/>
                <a:gd name="T46" fmla="*/ 133686 w 795"/>
                <a:gd name="T47" fmla="*/ 81990 h 700"/>
                <a:gd name="T48" fmla="*/ 132150 w 795"/>
                <a:gd name="T49" fmla="*/ 106666 h 700"/>
                <a:gd name="T50" fmla="*/ 118320 w 795"/>
                <a:gd name="T51" fmla="*/ 105870 h 700"/>
                <a:gd name="T52" fmla="*/ 112942 w 795"/>
                <a:gd name="T53" fmla="*/ 116219 h 700"/>
                <a:gd name="T54" fmla="*/ 116015 w 795"/>
                <a:gd name="T55" fmla="*/ 120199 h 700"/>
                <a:gd name="T56" fmla="*/ 105259 w 795"/>
                <a:gd name="T57" fmla="*/ 128159 h 700"/>
                <a:gd name="T58" fmla="*/ 94502 w 795"/>
                <a:gd name="T59" fmla="*/ 135323 h 700"/>
                <a:gd name="T60" fmla="*/ 93734 w 795"/>
                <a:gd name="T61" fmla="*/ 140099 h 700"/>
                <a:gd name="T62" fmla="*/ 83746 w 795"/>
                <a:gd name="T63" fmla="*/ 135323 h 700"/>
                <a:gd name="T64" fmla="*/ 81441 w 795"/>
                <a:gd name="T65" fmla="*/ 125771 h 700"/>
                <a:gd name="T66" fmla="*/ 80673 w 795"/>
                <a:gd name="T67" fmla="*/ 122587 h 700"/>
                <a:gd name="T68" fmla="*/ 80673 w 795"/>
                <a:gd name="T69" fmla="*/ 121791 h 700"/>
                <a:gd name="T70" fmla="*/ 90661 w 795"/>
                <a:gd name="T71" fmla="*/ 113830 h 700"/>
                <a:gd name="T72" fmla="*/ 85283 w 795"/>
                <a:gd name="T73" fmla="*/ 101890 h 700"/>
                <a:gd name="T74" fmla="*/ 67611 w 795"/>
                <a:gd name="T75" fmla="*/ 92338 h 700"/>
                <a:gd name="T76" fmla="*/ 63002 w 795"/>
                <a:gd name="T77" fmla="*/ 81194 h 700"/>
                <a:gd name="T78" fmla="*/ 50709 w 795"/>
                <a:gd name="T79" fmla="*/ 80398 h 700"/>
                <a:gd name="T80" fmla="*/ 49940 w 795"/>
                <a:gd name="T81" fmla="*/ 70050 h 700"/>
                <a:gd name="T82" fmla="*/ 40721 w 795"/>
                <a:gd name="T83" fmla="*/ 70846 h 700"/>
                <a:gd name="T84" fmla="*/ 29964 w 795"/>
                <a:gd name="T85" fmla="*/ 85970 h 700"/>
                <a:gd name="T86" fmla="*/ 9988 w 795"/>
                <a:gd name="T87" fmla="*/ 76418 h 700"/>
                <a:gd name="T88" fmla="*/ 17671 w 795"/>
                <a:gd name="T89" fmla="*/ 62089 h 700"/>
                <a:gd name="T90" fmla="*/ 0 w 795"/>
                <a:gd name="T91" fmla="*/ 53333 h 70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95"/>
                <a:gd name="T139" fmla="*/ 0 h 700"/>
                <a:gd name="T140" fmla="*/ 795 w 795"/>
                <a:gd name="T141" fmla="*/ 700 h 70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95" h="700">
                  <a:moveTo>
                    <a:pt x="0" y="268"/>
                  </a:moveTo>
                  <a:lnTo>
                    <a:pt x="54" y="203"/>
                  </a:lnTo>
                  <a:lnTo>
                    <a:pt x="142" y="245"/>
                  </a:lnTo>
                  <a:lnTo>
                    <a:pt x="184" y="239"/>
                  </a:lnTo>
                  <a:lnTo>
                    <a:pt x="203" y="191"/>
                  </a:lnTo>
                  <a:lnTo>
                    <a:pt x="257" y="232"/>
                  </a:lnTo>
                  <a:lnTo>
                    <a:pt x="353" y="211"/>
                  </a:lnTo>
                  <a:lnTo>
                    <a:pt x="342" y="86"/>
                  </a:lnTo>
                  <a:lnTo>
                    <a:pt x="315" y="55"/>
                  </a:lnTo>
                  <a:lnTo>
                    <a:pt x="365" y="0"/>
                  </a:lnTo>
                  <a:lnTo>
                    <a:pt x="403" y="40"/>
                  </a:lnTo>
                  <a:lnTo>
                    <a:pt x="395" y="101"/>
                  </a:lnTo>
                  <a:lnTo>
                    <a:pt x="432" y="86"/>
                  </a:lnTo>
                  <a:lnTo>
                    <a:pt x="499" y="136"/>
                  </a:lnTo>
                  <a:lnTo>
                    <a:pt x="534" y="84"/>
                  </a:lnTo>
                  <a:lnTo>
                    <a:pt x="560" y="76"/>
                  </a:lnTo>
                  <a:lnTo>
                    <a:pt x="587" y="120"/>
                  </a:lnTo>
                  <a:lnTo>
                    <a:pt x="622" y="80"/>
                  </a:lnTo>
                  <a:lnTo>
                    <a:pt x="693" y="124"/>
                  </a:lnTo>
                  <a:lnTo>
                    <a:pt x="733" y="184"/>
                  </a:lnTo>
                  <a:lnTo>
                    <a:pt x="724" y="239"/>
                  </a:lnTo>
                  <a:lnTo>
                    <a:pt x="795" y="305"/>
                  </a:lnTo>
                  <a:lnTo>
                    <a:pt x="745" y="370"/>
                  </a:lnTo>
                  <a:lnTo>
                    <a:pt x="697" y="408"/>
                  </a:lnTo>
                  <a:lnTo>
                    <a:pt x="689" y="535"/>
                  </a:lnTo>
                  <a:lnTo>
                    <a:pt x="618" y="531"/>
                  </a:lnTo>
                  <a:lnTo>
                    <a:pt x="591" y="581"/>
                  </a:lnTo>
                  <a:lnTo>
                    <a:pt x="606" y="602"/>
                  </a:lnTo>
                  <a:lnTo>
                    <a:pt x="549" y="642"/>
                  </a:lnTo>
                  <a:lnTo>
                    <a:pt x="495" y="679"/>
                  </a:lnTo>
                  <a:lnTo>
                    <a:pt x="491" y="700"/>
                  </a:lnTo>
                  <a:lnTo>
                    <a:pt x="439" y="679"/>
                  </a:lnTo>
                  <a:lnTo>
                    <a:pt x="424" y="631"/>
                  </a:lnTo>
                  <a:lnTo>
                    <a:pt x="420" y="614"/>
                  </a:lnTo>
                  <a:lnTo>
                    <a:pt x="420" y="608"/>
                  </a:lnTo>
                  <a:lnTo>
                    <a:pt x="474" y="570"/>
                  </a:lnTo>
                  <a:lnTo>
                    <a:pt x="447" y="510"/>
                  </a:lnTo>
                  <a:lnTo>
                    <a:pt x="353" y="462"/>
                  </a:lnTo>
                  <a:lnTo>
                    <a:pt x="330" y="405"/>
                  </a:lnTo>
                  <a:lnTo>
                    <a:pt x="267" y="401"/>
                  </a:lnTo>
                  <a:lnTo>
                    <a:pt x="263" y="349"/>
                  </a:lnTo>
                  <a:lnTo>
                    <a:pt x="213" y="355"/>
                  </a:lnTo>
                  <a:lnTo>
                    <a:pt x="159" y="429"/>
                  </a:lnTo>
                  <a:lnTo>
                    <a:pt x="52" y="383"/>
                  </a:lnTo>
                  <a:lnTo>
                    <a:pt x="94" y="312"/>
                  </a:lnTo>
                  <a:lnTo>
                    <a:pt x="0" y="268"/>
                  </a:lnTo>
                  <a:close/>
                </a:path>
              </a:pathLst>
            </a:custGeom>
            <a:solidFill>
              <a:srgbClr val="CEA09D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80" name="Freeform 70"/>
            <p:cNvSpPr>
              <a:spLocks/>
            </p:cNvSpPr>
            <p:nvPr/>
          </p:nvSpPr>
          <p:spPr bwMode="gray">
            <a:xfrm>
              <a:off x="2682892" y="4318589"/>
              <a:ext cx="649272" cy="419100"/>
            </a:xfrm>
            <a:custGeom>
              <a:avLst/>
              <a:gdLst>
                <a:gd name="T0" fmla="*/ 0 w 845"/>
                <a:gd name="T1" fmla="*/ 84931 h 528"/>
                <a:gd name="T2" fmla="*/ 3073 w 845"/>
                <a:gd name="T3" fmla="*/ 75406 h 528"/>
                <a:gd name="T4" fmla="*/ 13062 w 845"/>
                <a:gd name="T5" fmla="*/ 68262 h 528"/>
                <a:gd name="T6" fmla="*/ 7684 w 845"/>
                <a:gd name="T7" fmla="*/ 55562 h 528"/>
                <a:gd name="T8" fmla="*/ 10757 w 845"/>
                <a:gd name="T9" fmla="*/ 42069 h 528"/>
                <a:gd name="T10" fmla="*/ 20746 w 845"/>
                <a:gd name="T11" fmla="*/ 48419 h 528"/>
                <a:gd name="T12" fmla="*/ 39187 w 845"/>
                <a:gd name="T13" fmla="*/ 37306 h 528"/>
                <a:gd name="T14" fmla="*/ 50712 w 845"/>
                <a:gd name="T15" fmla="*/ 37306 h 528"/>
                <a:gd name="T16" fmla="*/ 51481 w 845"/>
                <a:gd name="T17" fmla="*/ 18256 h 528"/>
                <a:gd name="T18" fmla="*/ 66080 w 845"/>
                <a:gd name="T19" fmla="*/ 19844 h 528"/>
                <a:gd name="T20" fmla="*/ 70690 w 845"/>
                <a:gd name="T21" fmla="*/ 10319 h 528"/>
                <a:gd name="T22" fmla="*/ 79910 w 845"/>
                <a:gd name="T23" fmla="*/ 7144 h 528"/>
                <a:gd name="T24" fmla="*/ 101425 w 845"/>
                <a:gd name="T25" fmla="*/ 15875 h 528"/>
                <a:gd name="T26" fmla="*/ 111414 w 845"/>
                <a:gd name="T27" fmla="*/ 1588 h 528"/>
                <a:gd name="T28" fmla="*/ 121402 w 845"/>
                <a:gd name="T29" fmla="*/ 0 h 528"/>
                <a:gd name="T30" fmla="*/ 122939 w 845"/>
                <a:gd name="T31" fmla="*/ 9525 h 528"/>
                <a:gd name="T32" fmla="*/ 134465 w 845"/>
                <a:gd name="T33" fmla="*/ 11112 h 528"/>
                <a:gd name="T34" fmla="*/ 138306 w 845"/>
                <a:gd name="T35" fmla="*/ 21431 h 528"/>
                <a:gd name="T36" fmla="*/ 156747 w 845"/>
                <a:gd name="T37" fmla="*/ 31750 h 528"/>
                <a:gd name="T38" fmla="*/ 162126 w 845"/>
                <a:gd name="T39" fmla="*/ 43656 h 528"/>
                <a:gd name="T40" fmla="*/ 152137 w 845"/>
                <a:gd name="T41" fmla="*/ 52388 h 528"/>
                <a:gd name="T42" fmla="*/ 151369 w 845"/>
                <a:gd name="T43" fmla="*/ 53181 h 528"/>
                <a:gd name="T44" fmla="*/ 152137 w 845"/>
                <a:gd name="T45" fmla="*/ 56356 h 528"/>
                <a:gd name="T46" fmla="*/ 133696 w 845"/>
                <a:gd name="T47" fmla="*/ 61912 h 528"/>
                <a:gd name="T48" fmla="*/ 94509 w 845"/>
                <a:gd name="T49" fmla="*/ 96837 h 528"/>
                <a:gd name="T50" fmla="*/ 86826 w 845"/>
                <a:gd name="T51" fmla="*/ 94456 h 528"/>
                <a:gd name="T52" fmla="*/ 68385 w 845"/>
                <a:gd name="T53" fmla="*/ 104775 h 528"/>
                <a:gd name="T54" fmla="*/ 34577 w 845"/>
                <a:gd name="T55" fmla="*/ 88900 h 528"/>
                <a:gd name="T56" fmla="*/ 32272 w 845"/>
                <a:gd name="T57" fmla="*/ 80962 h 528"/>
                <a:gd name="T58" fmla="*/ 20746 w 845"/>
                <a:gd name="T59" fmla="*/ 98425 h 528"/>
                <a:gd name="T60" fmla="*/ 14599 w 845"/>
                <a:gd name="T61" fmla="*/ 88900 h 528"/>
                <a:gd name="T62" fmla="*/ 7684 w 845"/>
                <a:gd name="T63" fmla="*/ 94456 h 528"/>
                <a:gd name="T64" fmla="*/ 0 w 845"/>
                <a:gd name="T65" fmla="*/ 85725 h 528"/>
                <a:gd name="T66" fmla="*/ 0 w 845"/>
                <a:gd name="T67" fmla="*/ 84931 h 5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845"/>
                <a:gd name="T103" fmla="*/ 0 h 528"/>
                <a:gd name="T104" fmla="*/ 845 w 845"/>
                <a:gd name="T105" fmla="*/ 528 h 5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845" h="528">
                  <a:moveTo>
                    <a:pt x="0" y="430"/>
                  </a:moveTo>
                  <a:lnTo>
                    <a:pt x="18" y="380"/>
                  </a:lnTo>
                  <a:lnTo>
                    <a:pt x="68" y="347"/>
                  </a:lnTo>
                  <a:lnTo>
                    <a:pt x="43" y="280"/>
                  </a:lnTo>
                  <a:lnTo>
                    <a:pt x="58" y="213"/>
                  </a:lnTo>
                  <a:lnTo>
                    <a:pt x="110" y="246"/>
                  </a:lnTo>
                  <a:lnTo>
                    <a:pt x="204" y="190"/>
                  </a:lnTo>
                  <a:lnTo>
                    <a:pt x="265" y="190"/>
                  </a:lnTo>
                  <a:lnTo>
                    <a:pt x="269" y="92"/>
                  </a:lnTo>
                  <a:lnTo>
                    <a:pt x="346" y="102"/>
                  </a:lnTo>
                  <a:lnTo>
                    <a:pt x="369" y="54"/>
                  </a:lnTo>
                  <a:lnTo>
                    <a:pt x="419" y="36"/>
                  </a:lnTo>
                  <a:lnTo>
                    <a:pt x="528" y="82"/>
                  </a:lnTo>
                  <a:lnTo>
                    <a:pt x="582" y="10"/>
                  </a:lnTo>
                  <a:lnTo>
                    <a:pt x="632" y="0"/>
                  </a:lnTo>
                  <a:lnTo>
                    <a:pt x="640" y="50"/>
                  </a:lnTo>
                  <a:lnTo>
                    <a:pt x="701" y="59"/>
                  </a:lnTo>
                  <a:lnTo>
                    <a:pt x="720" y="111"/>
                  </a:lnTo>
                  <a:lnTo>
                    <a:pt x="818" y="163"/>
                  </a:lnTo>
                  <a:lnTo>
                    <a:pt x="845" y="223"/>
                  </a:lnTo>
                  <a:lnTo>
                    <a:pt x="793" y="263"/>
                  </a:lnTo>
                  <a:lnTo>
                    <a:pt x="791" y="269"/>
                  </a:lnTo>
                  <a:lnTo>
                    <a:pt x="795" y="286"/>
                  </a:lnTo>
                  <a:lnTo>
                    <a:pt x="697" y="313"/>
                  </a:lnTo>
                  <a:lnTo>
                    <a:pt x="494" y="489"/>
                  </a:lnTo>
                  <a:lnTo>
                    <a:pt x="452" y="476"/>
                  </a:lnTo>
                  <a:lnTo>
                    <a:pt x="359" y="528"/>
                  </a:lnTo>
                  <a:lnTo>
                    <a:pt x="181" y="449"/>
                  </a:lnTo>
                  <a:lnTo>
                    <a:pt x="169" y="411"/>
                  </a:lnTo>
                  <a:lnTo>
                    <a:pt x="110" y="497"/>
                  </a:lnTo>
                  <a:lnTo>
                    <a:pt x="77" y="451"/>
                  </a:lnTo>
                  <a:lnTo>
                    <a:pt x="41" y="476"/>
                  </a:lnTo>
                  <a:lnTo>
                    <a:pt x="0" y="432"/>
                  </a:lnTo>
                  <a:lnTo>
                    <a:pt x="0" y="430"/>
                  </a:lnTo>
                  <a:close/>
                </a:path>
              </a:pathLst>
            </a:custGeom>
            <a:solidFill>
              <a:srgbClr val="CEA09D"/>
            </a:solidFill>
            <a:ln w="9525">
              <a:solidFill>
                <a:srgbClr val="CEA09D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81" name="Freeform 71"/>
            <p:cNvSpPr>
              <a:spLocks/>
            </p:cNvSpPr>
            <p:nvPr/>
          </p:nvSpPr>
          <p:spPr bwMode="gray">
            <a:xfrm>
              <a:off x="2898290" y="3508966"/>
              <a:ext cx="533880" cy="376237"/>
            </a:xfrm>
            <a:custGeom>
              <a:avLst/>
              <a:gdLst>
                <a:gd name="T0" fmla="*/ 0 w 695"/>
                <a:gd name="T1" fmla="*/ 16669 h 474"/>
                <a:gd name="T2" fmla="*/ 1536 w 695"/>
                <a:gd name="T3" fmla="*/ 10319 h 474"/>
                <a:gd name="T4" fmla="*/ 25350 w 695"/>
                <a:gd name="T5" fmla="*/ 0 h 474"/>
                <a:gd name="T6" fmla="*/ 38409 w 695"/>
                <a:gd name="T7" fmla="*/ 0 h 474"/>
                <a:gd name="T8" fmla="*/ 49931 w 695"/>
                <a:gd name="T9" fmla="*/ 11906 h 474"/>
                <a:gd name="T10" fmla="*/ 56077 w 695"/>
                <a:gd name="T11" fmla="*/ 5556 h 474"/>
                <a:gd name="T12" fmla="*/ 76817 w 695"/>
                <a:gd name="T13" fmla="*/ 9525 h 474"/>
                <a:gd name="T14" fmla="*/ 92949 w 695"/>
                <a:gd name="T15" fmla="*/ 11906 h 474"/>
                <a:gd name="T16" fmla="*/ 102167 w 695"/>
                <a:gd name="T17" fmla="*/ 4762 h 474"/>
                <a:gd name="T18" fmla="*/ 119067 w 695"/>
                <a:gd name="T19" fmla="*/ 7144 h 474"/>
                <a:gd name="T20" fmla="*/ 119067 w 695"/>
                <a:gd name="T21" fmla="*/ 20637 h 474"/>
                <a:gd name="T22" fmla="*/ 132894 w 695"/>
                <a:gd name="T23" fmla="*/ 26194 h 474"/>
                <a:gd name="T24" fmla="*/ 129053 w 695"/>
                <a:gd name="T25" fmla="*/ 42069 h 474"/>
                <a:gd name="T26" fmla="*/ 122139 w 695"/>
                <a:gd name="T27" fmla="*/ 38894 h 474"/>
                <a:gd name="T28" fmla="*/ 122908 w 695"/>
                <a:gd name="T29" fmla="*/ 53975 h 474"/>
                <a:gd name="T30" fmla="*/ 114458 w 695"/>
                <a:gd name="T31" fmla="*/ 55562 h 474"/>
                <a:gd name="T32" fmla="*/ 115226 w 695"/>
                <a:gd name="T33" fmla="*/ 62706 h 474"/>
                <a:gd name="T34" fmla="*/ 108312 w 695"/>
                <a:gd name="T35" fmla="*/ 63500 h 474"/>
                <a:gd name="T36" fmla="*/ 101399 w 695"/>
                <a:gd name="T37" fmla="*/ 76200 h 474"/>
                <a:gd name="T38" fmla="*/ 89876 w 695"/>
                <a:gd name="T39" fmla="*/ 76994 h 474"/>
                <a:gd name="T40" fmla="*/ 73745 w 695"/>
                <a:gd name="T41" fmla="*/ 94456 h 474"/>
                <a:gd name="T42" fmla="*/ 53004 w 695"/>
                <a:gd name="T43" fmla="*/ 75406 h 474"/>
                <a:gd name="T44" fmla="*/ 36872 w 695"/>
                <a:gd name="T45" fmla="*/ 85725 h 474"/>
                <a:gd name="T46" fmla="*/ 26118 w 695"/>
                <a:gd name="T47" fmla="*/ 63500 h 474"/>
                <a:gd name="T48" fmla="*/ 19204 w 695"/>
                <a:gd name="T49" fmla="*/ 45244 h 474"/>
                <a:gd name="T50" fmla="*/ 25350 w 695"/>
                <a:gd name="T51" fmla="*/ 44450 h 474"/>
                <a:gd name="T52" fmla="*/ 12291 w 695"/>
                <a:gd name="T53" fmla="*/ 21431 h 474"/>
                <a:gd name="T54" fmla="*/ 0 w 695"/>
                <a:gd name="T55" fmla="*/ 19050 h 474"/>
                <a:gd name="T56" fmla="*/ 0 w 695"/>
                <a:gd name="T57" fmla="*/ 16669 h 47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695"/>
                <a:gd name="T88" fmla="*/ 0 h 474"/>
                <a:gd name="T89" fmla="*/ 695 w 695"/>
                <a:gd name="T90" fmla="*/ 474 h 47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695" h="474">
                  <a:moveTo>
                    <a:pt x="2" y="84"/>
                  </a:moveTo>
                  <a:lnTo>
                    <a:pt x="11" y="52"/>
                  </a:lnTo>
                  <a:lnTo>
                    <a:pt x="134" y="0"/>
                  </a:lnTo>
                  <a:lnTo>
                    <a:pt x="203" y="0"/>
                  </a:lnTo>
                  <a:lnTo>
                    <a:pt x="263" y="59"/>
                  </a:lnTo>
                  <a:lnTo>
                    <a:pt x="295" y="29"/>
                  </a:lnTo>
                  <a:lnTo>
                    <a:pt x="401" y="48"/>
                  </a:lnTo>
                  <a:lnTo>
                    <a:pt x="485" y="59"/>
                  </a:lnTo>
                  <a:lnTo>
                    <a:pt x="535" y="21"/>
                  </a:lnTo>
                  <a:lnTo>
                    <a:pt x="622" y="36"/>
                  </a:lnTo>
                  <a:lnTo>
                    <a:pt x="622" y="102"/>
                  </a:lnTo>
                  <a:lnTo>
                    <a:pt x="695" y="132"/>
                  </a:lnTo>
                  <a:lnTo>
                    <a:pt x="675" y="211"/>
                  </a:lnTo>
                  <a:lnTo>
                    <a:pt x="637" y="196"/>
                  </a:lnTo>
                  <a:lnTo>
                    <a:pt x="641" y="269"/>
                  </a:lnTo>
                  <a:lnTo>
                    <a:pt x="599" y="280"/>
                  </a:lnTo>
                  <a:lnTo>
                    <a:pt x="602" y="315"/>
                  </a:lnTo>
                  <a:lnTo>
                    <a:pt x="566" y="320"/>
                  </a:lnTo>
                  <a:lnTo>
                    <a:pt x="531" y="382"/>
                  </a:lnTo>
                  <a:lnTo>
                    <a:pt x="470" y="388"/>
                  </a:lnTo>
                  <a:lnTo>
                    <a:pt x="387" y="474"/>
                  </a:lnTo>
                  <a:lnTo>
                    <a:pt x="278" y="380"/>
                  </a:lnTo>
                  <a:lnTo>
                    <a:pt x="195" y="432"/>
                  </a:lnTo>
                  <a:lnTo>
                    <a:pt x="138" y="318"/>
                  </a:lnTo>
                  <a:lnTo>
                    <a:pt x="101" y="226"/>
                  </a:lnTo>
                  <a:lnTo>
                    <a:pt x="132" y="224"/>
                  </a:lnTo>
                  <a:lnTo>
                    <a:pt x="67" y="107"/>
                  </a:lnTo>
                  <a:lnTo>
                    <a:pt x="0" y="94"/>
                  </a:lnTo>
                  <a:lnTo>
                    <a:pt x="2" y="84"/>
                  </a:lnTo>
                  <a:close/>
                </a:path>
              </a:pathLst>
            </a:custGeom>
            <a:solidFill>
              <a:srgbClr val="B1726B"/>
            </a:solidFill>
            <a:ln w="9525">
              <a:solidFill>
                <a:srgbClr val="B1726B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82" name="Freeform 72"/>
            <p:cNvSpPr>
              <a:spLocks/>
            </p:cNvSpPr>
            <p:nvPr/>
          </p:nvSpPr>
          <p:spPr bwMode="gray">
            <a:xfrm>
              <a:off x="2092085" y="3720104"/>
              <a:ext cx="472338" cy="454025"/>
            </a:xfrm>
            <a:custGeom>
              <a:avLst/>
              <a:gdLst>
                <a:gd name="T0" fmla="*/ 769 w 614"/>
                <a:gd name="T1" fmla="*/ 65087 h 572"/>
                <a:gd name="T2" fmla="*/ 9231 w 614"/>
                <a:gd name="T3" fmla="*/ 61119 h 572"/>
                <a:gd name="T4" fmla="*/ 45388 w 614"/>
                <a:gd name="T5" fmla="*/ 20637 h 572"/>
                <a:gd name="T6" fmla="*/ 46157 w 614"/>
                <a:gd name="T7" fmla="*/ 794 h 572"/>
                <a:gd name="T8" fmla="*/ 63081 w 614"/>
                <a:gd name="T9" fmla="*/ 0 h 572"/>
                <a:gd name="T10" fmla="*/ 76159 w 614"/>
                <a:gd name="T11" fmla="*/ 15081 h 572"/>
                <a:gd name="T12" fmla="*/ 105391 w 614"/>
                <a:gd name="T13" fmla="*/ 7937 h 572"/>
                <a:gd name="T14" fmla="*/ 105391 w 614"/>
                <a:gd name="T15" fmla="*/ 11906 h 572"/>
                <a:gd name="T16" fmla="*/ 114623 w 614"/>
                <a:gd name="T17" fmla="*/ 34131 h 572"/>
                <a:gd name="T18" fmla="*/ 110007 w 614"/>
                <a:gd name="T19" fmla="*/ 47625 h 572"/>
                <a:gd name="T20" fmla="*/ 118469 w 614"/>
                <a:gd name="T21" fmla="*/ 57944 h 572"/>
                <a:gd name="T22" fmla="*/ 83852 w 614"/>
                <a:gd name="T23" fmla="*/ 75406 h 572"/>
                <a:gd name="T24" fmla="*/ 83082 w 614"/>
                <a:gd name="T25" fmla="*/ 78581 h 572"/>
                <a:gd name="T26" fmla="*/ 85390 w 614"/>
                <a:gd name="T27" fmla="*/ 96044 h 572"/>
                <a:gd name="T28" fmla="*/ 62312 w 614"/>
                <a:gd name="T29" fmla="*/ 105569 h 572"/>
                <a:gd name="T30" fmla="*/ 56927 w 614"/>
                <a:gd name="T31" fmla="*/ 100806 h 572"/>
                <a:gd name="T32" fmla="*/ 53850 w 614"/>
                <a:gd name="T33" fmla="*/ 111125 h 572"/>
                <a:gd name="T34" fmla="*/ 46157 w 614"/>
                <a:gd name="T35" fmla="*/ 103188 h 572"/>
                <a:gd name="T36" fmla="*/ 34618 w 614"/>
                <a:gd name="T37" fmla="*/ 113506 h 572"/>
                <a:gd name="T38" fmla="*/ 28463 w 614"/>
                <a:gd name="T39" fmla="*/ 109538 h 572"/>
                <a:gd name="T40" fmla="*/ 29233 w 614"/>
                <a:gd name="T41" fmla="*/ 101600 h 572"/>
                <a:gd name="T42" fmla="*/ 20001 w 614"/>
                <a:gd name="T43" fmla="*/ 103981 h 572"/>
                <a:gd name="T44" fmla="*/ 8462 w 614"/>
                <a:gd name="T45" fmla="*/ 93662 h 572"/>
                <a:gd name="T46" fmla="*/ 13847 w 614"/>
                <a:gd name="T47" fmla="*/ 87312 h 572"/>
                <a:gd name="T48" fmla="*/ 7693 w 614"/>
                <a:gd name="T49" fmla="*/ 88900 h 572"/>
                <a:gd name="T50" fmla="*/ 0 w 614"/>
                <a:gd name="T51" fmla="*/ 65881 h 572"/>
                <a:gd name="T52" fmla="*/ 769 w 614"/>
                <a:gd name="T53" fmla="*/ 65087 h 57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14"/>
                <a:gd name="T82" fmla="*/ 0 h 572"/>
                <a:gd name="T83" fmla="*/ 614 w 614"/>
                <a:gd name="T84" fmla="*/ 572 h 572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14" h="572">
                  <a:moveTo>
                    <a:pt x="4" y="328"/>
                  </a:moveTo>
                  <a:lnTo>
                    <a:pt x="48" y="311"/>
                  </a:lnTo>
                  <a:lnTo>
                    <a:pt x="236" y="105"/>
                  </a:lnTo>
                  <a:lnTo>
                    <a:pt x="242" y="5"/>
                  </a:lnTo>
                  <a:lnTo>
                    <a:pt x="330" y="0"/>
                  </a:lnTo>
                  <a:lnTo>
                    <a:pt x="399" y="76"/>
                  </a:lnTo>
                  <a:lnTo>
                    <a:pt x="547" y="42"/>
                  </a:lnTo>
                  <a:lnTo>
                    <a:pt x="547" y="63"/>
                  </a:lnTo>
                  <a:lnTo>
                    <a:pt x="595" y="172"/>
                  </a:lnTo>
                  <a:lnTo>
                    <a:pt x="572" y="240"/>
                  </a:lnTo>
                  <a:lnTo>
                    <a:pt x="614" y="293"/>
                  </a:lnTo>
                  <a:lnTo>
                    <a:pt x="439" y="382"/>
                  </a:lnTo>
                  <a:lnTo>
                    <a:pt x="433" y="399"/>
                  </a:lnTo>
                  <a:lnTo>
                    <a:pt x="445" y="487"/>
                  </a:lnTo>
                  <a:lnTo>
                    <a:pt x="324" y="531"/>
                  </a:lnTo>
                  <a:lnTo>
                    <a:pt x="293" y="508"/>
                  </a:lnTo>
                  <a:lnTo>
                    <a:pt x="278" y="558"/>
                  </a:lnTo>
                  <a:lnTo>
                    <a:pt x="243" y="520"/>
                  </a:lnTo>
                  <a:lnTo>
                    <a:pt x="182" y="572"/>
                  </a:lnTo>
                  <a:lnTo>
                    <a:pt x="146" y="549"/>
                  </a:lnTo>
                  <a:lnTo>
                    <a:pt x="149" y="512"/>
                  </a:lnTo>
                  <a:lnTo>
                    <a:pt x="107" y="524"/>
                  </a:lnTo>
                  <a:lnTo>
                    <a:pt x="46" y="472"/>
                  </a:lnTo>
                  <a:lnTo>
                    <a:pt x="71" y="441"/>
                  </a:lnTo>
                  <a:lnTo>
                    <a:pt x="38" y="449"/>
                  </a:lnTo>
                  <a:lnTo>
                    <a:pt x="0" y="332"/>
                  </a:lnTo>
                  <a:lnTo>
                    <a:pt x="4" y="328"/>
                  </a:lnTo>
                  <a:close/>
                </a:path>
              </a:pathLst>
            </a:custGeom>
            <a:solidFill>
              <a:srgbClr val="99DFB9"/>
            </a:solidFill>
            <a:ln w="9525">
              <a:solidFill>
                <a:srgbClr val="99DFB9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83" name="Freeform 73"/>
            <p:cNvSpPr>
              <a:spLocks/>
            </p:cNvSpPr>
            <p:nvPr/>
          </p:nvSpPr>
          <p:spPr bwMode="gray">
            <a:xfrm>
              <a:off x="2858289" y="3762964"/>
              <a:ext cx="390794" cy="474662"/>
            </a:xfrm>
            <a:custGeom>
              <a:avLst/>
              <a:gdLst>
                <a:gd name="T0" fmla="*/ 768 w 509"/>
                <a:gd name="T1" fmla="*/ 42791 h 599"/>
                <a:gd name="T2" fmla="*/ 10749 w 509"/>
                <a:gd name="T3" fmla="*/ 11886 h 599"/>
                <a:gd name="T4" fmla="*/ 19194 w 509"/>
                <a:gd name="T5" fmla="*/ 14264 h 599"/>
                <a:gd name="T6" fmla="*/ 23801 w 509"/>
                <a:gd name="T7" fmla="*/ 3962 h 599"/>
                <a:gd name="T8" fmla="*/ 36085 w 509"/>
                <a:gd name="T9" fmla="*/ 0 h 599"/>
                <a:gd name="T10" fmla="*/ 46834 w 509"/>
                <a:gd name="T11" fmla="*/ 22188 h 599"/>
                <a:gd name="T12" fmla="*/ 62957 w 509"/>
                <a:gd name="T13" fmla="*/ 11886 h 599"/>
                <a:gd name="T14" fmla="*/ 83687 w 509"/>
                <a:gd name="T15" fmla="*/ 30905 h 599"/>
                <a:gd name="T16" fmla="*/ 84455 w 509"/>
                <a:gd name="T17" fmla="*/ 36452 h 599"/>
                <a:gd name="T18" fmla="*/ 92900 w 509"/>
                <a:gd name="T19" fmla="*/ 56262 h 599"/>
                <a:gd name="T20" fmla="*/ 97507 w 509"/>
                <a:gd name="T21" fmla="*/ 70526 h 599"/>
                <a:gd name="T22" fmla="*/ 86758 w 509"/>
                <a:gd name="T23" fmla="*/ 80827 h 599"/>
                <a:gd name="T24" fmla="*/ 92900 w 509"/>
                <a:gd name="T25" fmla="*/ 87167 h 599"/>
                <a:gd name="T26" fmla="*/ 94435 w 509"/>
                <a:gd name="T27" fmla="*/ 111732 h 599"/>
                <a:gd name="T28" fmla="*/ 76777 w 509"/>
                <a:gd name="T29" fmla="*/ 115694 h 599"/>
                <a:gd name="T30" fmla="*/ 66028 w 509"/>
                <a:gd name="T31" fmla="*/ 108562 h 599"/>
                <a:gd name="T32" fmla="*/ 62189 w 509"/>
                <a:gd name="T33" fmla="*/ 117279 h 599"/>
                <a:gd name="T34" fmla="*/ 53744 w 509"/>
                <a:gd name="T35" fmla="*/ 118071 h 599"/>
                <a:gd name="T36" fmla="*/ 37621 w 509"/>
                <a:gd name="T37" fmla="*/ 110147 h 599"/>
                <a:gd name="T38" fmla="*/ 20730 w 509"/>
                <a:gd name="T39" fmla="*/ 107770 h 599"/>
                <a:gd name="T40" fmla="*/ 22265 w 509"/>
                <a:gd name="T41" fmla="*/ 102223 h 599"/>
                <a:gd name="T42" fmla="*/ 12284 w 509"/>
                <a:gd name="T43" fmla="*/ 98261 h 599"/>
                <a:gd name="T44" fmla="*/ 14588 w 509"/>
                <a:gd name="T45" fmla="*/ 73695 h 599"/>
                <a:gd name="T46" fmla="*/ 0 w 509"/>
                <a:gd name="T47" fmla="*/ 44376 h 599"/>
                <a:gd name="T48" fmla="*/ 768 w 509"/>
                <a:gd name="T49" fmla="*/ 42791 h 59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09"/>
                <a:gd name="T76" fmla="*/ 0 h 599"/>
                <a:gd name="T77" fmla="*/ 509 w 509"/>
                <a:gd name="T78" fmla="*/ 599 h 59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09" h="599">
                  <a:moveTo>
                    <a:pt x="4" y="217"/>
                  </a:moveTo>
                  <a:lnTo>
                    <a:pt x="59" y="60"/>
                  </a:lnTo>
                  <a:lnTo>
                    <a:pt x="102" y="73"/>
                  </a:lnTo>
                  <a:lnTo>
                    <a:pt x="127" y="22"/>
                  </a:lnTo>
                  <a:lnTo>
                    <a:pt x="190" y="0"/>
                  </a:lnTo>
                  <a:lnTo>
                    <a:pt x="246" y="114"/>
                  </a:lnTo>
                  <a:lnTo>
                    <a:pt x="330" y="62"/>
                  </a:lnTo>
                  <a:lnTo>
                    <a:pt x="439" y="156"/>
                  </a:lnTo>
                  <a:lnTo>
                    <a:pt x="441" y="187"/>
                  </a:lnTo>
                  <a:lnTo>
                    <a:pt x="484" y="286"/>
                  </a:lnTo>
                  <a:lnTo>
                    <a:pt x="509" y="357"/>
                  </a:lnTo>
                  <a:lnTo>
                    <a:pt x="453" y="409"/>
                  </a:lnTo>
                  <a:lnTo>
                    <a:pt x="484" y="442"/>
                  </a:lnTo>
                  <a:lnTo>
                    <a:pt x="495" y="565"/>
                  </a:lnTo>
                  <a:lnTo>
                    <a:pt x="403" y="586"/>
                  </a:lnTo>
                  <a:lnTo>
                    <a:pt x="345" y="549"/>
                  </a:lnTo>
                  <a:lnTo>
                    <a:pt x="324" y="593"/>
                  </a:lnTo>
                  <a:lnTo>
                    <a:pt x="282" y="599"/>
                  </a:lnTo>
                  <a:lnTo>
                    <a:pt x="196" y="557"/>
                  </a:lnTo>
                  <a:lnTo>
                    <a:pt x="109" y="544"/>
                  </a:lnTo>
                  <a:lnTo>
                    <a:pt x="119" y="517"/>
                  </a:lnTo>
                  <a:lnTo>
                    <a:pt x="67" y="496"/>
                  </a:lnTo>
                  <a:lnTo>
                    <a:pt x="79" y="373"/>
                  </a:lnTo>
                  <a:lnTo>
                    <a:pt x="0" y="227"/>
                  </a:lnTo>
                  <a:lnTo>
                    <a:pt x="4" y="217"/>
                  </a:lnTo>
                  <a:close/>
                </a:path>
              </a:pathLst>
            </a:custGeom>
            <a:solidFill>
              <a:srgbClr val="CEA09D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84" name="Freeform 75"/>
            <p:cNvSpPr>
              <a:spLocks/>
            </p:cNvSpPr>
            <p:nvPr/>
          </p:nvSpPr>
          <p:spPr bwMode="gray">
            <a:xfrm>
              <a:off x="1992079" y="4070939"/>
              <a:ext cx="478492" cy="342900"/>
            </a:xfrm>
            <a:custGeom>
              <a:avLst/>
              <a:gdLst>
                <a:gd name="T0" fmla="*/ 0 w 624"/>
                <a:gd name="T1" fmla="*/ 40295 h 434"/>
                <a:gd name="T2" fmla="*/ 5368 w 624"/>
                <a:gd name="T3" fmla="*/ 32394 h 434"/>
                <a:gd name="T4" fmla="*/ 13803 w 624"/>
                <a:gd name="T5" fmla="*/ 34764 h 434"/>
                <a:gd name="T6" fmla="*/ 11502 w 624"/>
                <a:gd name="T7" fmla="*/ 28443 h 434"/>
                <a:gd name="T8" fmla="*/ 20704 w 624"/>
                <a:gd name="T9" fmla="*/ 15012 h 434"/>
                <a:gd name="T10" fmla="*/ 13803 w 624"/>
                <a:gd name="T11" fmla="*/ 9481 h 434"/>
                <a:gd name="T12" fmla="*/ 15336 w 624"/>
                <a:gd name="T13" fmla="*/ 1580 h 434"/>
                <a:gd name="T14" fmla="*/ 32206 w 624"/>
                <a:gd name="T15" fmla="*/ 1580 h 434"/>
                <a:gd name="T16" fmla="*/ 38341 w 624"/>
                <a:gd name="T17" fmla="*/ 0 h 434"/>
                <a:gd name="T18" fmla="*/ 33740 w 624"/>
                <a:gd name="T19" fmla="*/ 5531 h 434"/>
                <a:gd name="T20" fmla="*/ 46009 w 624"/>
                <a:gd name="T21" fmla="*/ 15802 h 434"/>
                <a:gd name="T22" fmla="*/ 53677 w 624"/>
                <a:gd name="T23" fmla="*/ 13432 h 434"/>
                <a:gd name="T24" fmla="*/ 52910 w 624"/>
                <a:gd name="T25" fmla="*/ 21332 h 434"/>
                <a:gd name="T26" fmla="*/ 59812 w 624"/>
                <a:gd name="T27" fmla="*/ 25283 h 434"/>
                <a:gd name="T28" fmla="*/ 70547 w 624"/>
                <a:gd name="T29" fmla="*/ 15012 h 434"/>
                <a:gd name="T30" fmla="*/ 77448 w 624"/>
                <a:gd name="T31" fmla="*/ 22913 h 434"/>
                <a:gd name="T32" fmla="*/ 81282 w 624"/>
                <a:gd name="T33" fmla="*/ 12641 h 434"/>
                <a:gd name="T34" fmla="*/ 86650 w 624"/>
                <a:gd name="T35" fmla="*/ 17382 h 434"/>
                <a:gd name="T36" fmla="*/ 110421 w 624"/>
                <a:gd name="T37" fmla="*/ 8691 h 434"/>
                <a:gd name="T38" fmla="*/ 108888 w 624"/>
                <a:gd name="T39" fmla="*/ 15012 h 434"/>
                <a:gd name="T40" fmla="*/ 118089 w 624"/>
                <a:gd name="T41" fmla="*/ 17382 h 434"/>
                <a:gd name="T42" fmla="*/ 110421 w 624"/>
                <a:gd name="T43" fmla="*/ 26073 h 434"/>
                <a:gd name="T44" fmla="*/ 118856 w 624"/>
                <a:gd name="T45" fmla="*/ 33184 h 434"/>
                <a:gd name="T46" fmla="*/ 112722 w 624"/>
                <a:gd name="T47" fmla="*/ 33184 h 434"/>
                <a:gd name="T48" fmla="*/ 99686 w 624"/>
                <a:gd name="T49" fmla="*/ 41875 h 434"/>
                <a:gd name="T50" fmla="*/ 88184 w 624"/>
                <a:gd name="T51" fmla="*/ 39505 h 434"/>
                <a:gd name="T52" fmla="*/ 92784 w 624"/>
                <a:gd name="T53" fmla="*/ 48196 h 434"/>
                <a:gd name="T54" fmla="*/ 84350 w 624"/>
                <a:gd name="T55" fmla="*/ 60047 h 434"/>
                <a:gd name="T56" fmla="*/ 75915 w 624"/>
                <a:gd name="T57" fmla="*/ 60837 h 434"/>
                <a:gd name="T58" fmla="*/ 76681 w 624"/>
                <a:gd name="T59" fmla="*/ 62417 h 434"/>
                <a:gd name="T60" fmla="*/ 78215 w 624"/>
                <a:gd name="T61" fmla="*/ 66368 h 434"/>
                <a:gd name="T62" fmla="*/ 59045 w 624"/>
                <a:gd name="T63" fmla="*/ 69528 h 434"/>
                <a:gd name="T64" fmla="*/ 52910 w 624"/>
                <a:gd name="T65" fmla="*/ 75059 h 434"/>
                <a:gd name="T66" fmla="*/ 59045 w 624"/>
                <a:gd name="T67" fmla="*/ 79009 h 434"/>
                <a:gd name="T68" fmla="*/ 45242 w 624"/>
                <a:gd name="T69" fmla="*/ 85330 h 434"/>
                <a:gd name="T70" fmla="*/ 38341 w 624"/>
                <a:gd name="T71" fmla="*/ 78219 h 434"/>
                <a:gd name="T72" fmla="*/ 18404 w 624"/>
                <a:gd name="T73" fmla="*/ 82170 h 434"/>
                <a:gd name="T74" fmla="*/ 13803 w 624"/>
                <a:gd name="T75" fmla="*/ 82170 h 434"/>
                <a:gd name="T76" fmla="*/ 13036 w 624"/>
                <a:gd name="T77" fmla="*/ 64788 h 434"/>
                <a:gd name="T78" fmla="*/ 767 w 624"/>
                <a:gd name="T79" fmla="*/ 60047 h 434"/>
                <a:gd name="T80" fmla="*/ 12269 w 624"/>
                <a:gd name="T81" fmla="*/ 46615 h 434"/>
                <a:gd name="T82" fmla="*/ 0 w 624"/>
                <a:gd name="T83" fmla="*/ 42665 h 434"/>
                <a:gd name="T84" fmla="*/ 0 w 624"/>
                <a:gd name="T85" fmla="*/ 40295 h 43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24"/>
                <a:gd name="T130" fmla="*/ 0 h 434"/>
                <a:gd name="T131" fmla="*/ 624 w 624"/>
                <a:gd name="T132" fmla="*/ 434 h 43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24" h="434">
                  <a:moveTo>
                    <a:pt x="2" y="204"/>
                  </a:moveTo>
                  <a:lnTo>
                    <a:pt x="29" y="167"/>
                  </a:lnTo>
                  <a:lnTo>
                    <a:pt x="73" y="177"/>
                  </a:lnTo>
                  <a:lnTo>
                    <a:pt x="60" y="144"/>
                  </a:lnTo>
                  <a:lnTo>
                    <a:pt x="110" y="79"/>
                  </a:lnTo>
                  <a:lnTo>
                    <a:pt x="73" y="48"/>
                  </a:lnTo>
                  <a:lnTo>
                    <a:pt x="83" y="8"/>
                  </a:lnTo>
                  <a:lnTo>
                    <a:pt x="169" y="8"/>
                  </a:lnTo>
                  <a:lnTo>
                    <a:pt x="202" y="0"/>
                  </a:lnTo>
                  <a:lnTo>
                    <a:pt x="177" y="31"/>
                  </a:lnTo>
                  <a:lnTo>
                    <a:pt x="240" y="83"/>
                  </a:lnTo>
                  <a:lnTo>
                    <a:pt x="282" y="69"/>
                  </a:lnTo>
                  <a:lnTo>
                    <a:pt x="278" y="110"/>
                  </a:lnTo>
                  <a:lnTo>
                    <a:pt x="315" y="131"/>
                  </a:lnTo>
                  <a:lnTo>
                    <a:pt x="371" y="79"/>
                  </a:lnTo>
                  <a:lnTo>
                    <a:pt x="407" y="117"/>
                  </a:lnTo>
                  <a:lnTo>
                    <a:pt x="426" y="67"/>
                  </a:lnTo>
                  <a:lnTo>
                    <a:pt x="455" y="88"/>
                  </a:lnTo>
                  <a:lnTo>
                    <a:pt x="578" y="46"/>
                  </a:lnTo>
                  <a:lnTo>
                    <a:pt x="572" y="79"/>
                  </a:lnTo>
                  <a:lnTo>
                    <a:pt x="620" y="90"/>
                  </a:lnTo>
                  <a:lnTo>
                    <a:pt x="578" y="134"/>
                  </a:lnTo>
                  <a:lnTo>
                    <a:pt x="624" y="171"/>
                  </a:lnTo>
                  <a:lnTo>
                    <a:pt x="591" y="169"/>
                  </a:lnTo>
                  <a:lnTo>
                    <a:pt x="524" y="215"/>
                  </a:lnTo>
                  <a:lnTo>
                    <a:pt x="463" y="200"/>
                  </a:lnTo>
                  <a:lnTo>
                    <a:pt x="486" y="246"/>
                  </a:lnTo>
                  <a:lnTo>
                    <a:pt x="444" y="307"/>
                  </a:lnTo>
                  <a:lnTo>
                    <a:pt x="399" y="309"/>
                  </a:lnTo>
                  <a:lnTo>
                    <a:pt x="401" y="317"/>
                  </a:lnTo>
                  <a:lnTo>
                    <a:pt x="411" y="338"/>
                  </a:lnTo>
                  <a:lnTo>
                    <a:pt x="311" y="353"/>
                  </a:lnTo>
                  <a:lnTo>
                    <a:pt x="277" y="382"/>
                  </a:lnTo>
                  <a:lnTo>
                    <a:pt x="309" y="403"/>
                  </a:lnTo>
                  <a:lnTo>
                    <a:pt x="236" y="434"/>
                  </a:lnTo>
                  <a:lnTo>
                    <a:pt x="202" y="397"/>
                  </a:lnTo>
                  <a:lnTo>
                    <a:pt x="98" y="417"/>
                  </a:lnTo>
                  <a:lnTo>
                    <a:pt x="75" y="417"/>
                  </a:lnTo>
                  <a:lnTo>
                    <a:pt x="71" y="330"/>
                  </a:lnTo>
                  <a:lnTo>
                    <a:pt x="4" y="307"/>
                  </a:lnTo>
                  <a:lnTo>
                    <a:pt x="67" y="240"/>
                  </a:lnTo>
                  <a:lnTo>
                    <a:pt x="0" y="219"/>
                  </a:lnTo>
                  <a:lnTo>
                    <a:pt x="2" y="204"/>
                  </a:lnTo>
                  <a:close/>
                </a:path>
              </a:pathLst>
            </a:custGeom>
            <a:solidFill>
              <a:srgbClr val="99DFB9"/>
            </a:solidFill>
            <a:ln w="9525">
              <a:solidFill>
                <a:srgbClr val="99DFB9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85" name="Freeform 90"/>
            <p:cNvSpPr>
              <a:spLocks/>
            </p:cNvSpPr>
            <p:nvPr/>
          </p:nvSpPr>
          <p:spPr bwMode="gray">
            <a:xfrm>
              <a:off x="2268623" y="2933522"/>
              <a:ext cx="455365" cy="442672"/>
            </a:xfrm>
            <a:custGeom>
              <a:avLst/>
              <a:gdLst>
                <a:gd name="T0" fmla="*/ 1 w 591"/>
                <a:gd name="T1" fmla="*/ 43 h 558"/>
                <a:gd name="T2" fmla="*/ 14 w 591"/>
                <a:gd name="T3" fmla="*/ 54 h 558"/>
                <a:gd name="T4" fmla="*/ 22 w 591"/>
                <a:gd name="T5" fmla="*/ 81 h 558"/>
                <a:gd name="T6" fmla="*/ 14 w 591"/>
                <a:gd name="T7" fmla="*/ 89 h 558"/>
                <a:gd name="T8" fmla="*/ 29 w 591"/>
                <a:gd name="T9" fmla="*/ 92 h 558"/>
                <a:gd name="T10" fmla="*/ 28 w 591"/>
                <a:gd name="T11" fmla="*/ 105 h 558"/>
                <a:gd name="T12" fmla="*/ 45 w 591"/>
                <a:gd name="T13" fmla="*/ 103 h 558"/>
                <a:gd name="T14" fmla="*/ 59 w 591"/>
                <a:gd name="T15" fmla="*/ 115 h 558"/>
                <a:gd name="T16" fmla="*/ 60 w 591"/>
                <a:gd name="T17" fmla="*/ 132 h 558"/>
                <a:gd name="T18" fmla="*/ 79 w 591"/>
                <a:gd name="T19" fmla="*/ 120 h 558"/>
                <a:gd name="T20" fmla="*/ 105 w 591"/>
                <a:gd name="T21" fmla="*/ 140 h 558"/>
                <a:gd name="T22" fmla="*/ 133 w 591"/>
                <a:gd name="T23" fmla="*/ 126 h 558"/>
                <a:gd name="T24" fmla="*/ 120 w 591"/>
                <a:gd name="T25" fmla="*/ 110 h 558"/>
                <a:gd name="T26" fmla="*/ 122 w 591"/>
                <a:gd name="T27" fmla="*/ 108 h 558"/>
                <a:gd name="T28" fmla="*/ 148 w 591"/>
                <a:gd name="T29" fmla="*/ 84 h 558"/>
                <a:gd name="T30" fmla="*/ 142 w 591"/>
                <a:gd name="T31" fmla="*/ 57 h 558"/>
                <a:gd name="T32" fmla="*/ 133 w 591"/>
                <a:gd name="T33" fmla="*/ 33 h 558"/>
                <a:gd name="T34" fmla="*/ 112 w 591"/>
                <a:gd name="T35" fmla="*/ 21 h 558"/>
                <a:gd name="T36" fmla="*/ 109 w 591"/>
                <a:gd name="T37" fmla="*/ 6 h 558"/>
                <a:gd name="T38" fmla="*/ 95 w 591"/>
                <a:gd name="T39" fmla="*/ 6 h 558"/>
                <a:gd name="T40" fmla="*/ 51 w 591"/>
                <a:gd name="T41" fmla="*/ 0 h 558"/>
                <a:gd name="T42" fmla="*/ 42 w 591"/>
                <a:gd name="T43" fmla="*/ 11 h 558"/>
                <a:gd name="T44" fmla="*/ 18 w 591"/>
                <a:gd name="T45" fmla="*/ 4 h 558"/>
                <a:gd name="T46" fmla="*/ 6 w 591"/>
                <a:gd name="T47" fmla="*/ 17 h 558"/>
                <a:gd name="T48" fmla="*/ 8 w 591"/>
                <a:gd name="T49" fmla="*/ 30 h 558"/>
                <a:gd name="T50" fmla="*/ 0 w 591"/>
                <a:gd name="T51" fmla="*/ 40 h 558"/>
                <a:gd name="T52" fmla="*/ 1 w 591"/>
                <a:gd name="T53" fmla="*/ 43 h 558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591"/>
                <a:gd name="T82" fmla="*/ 0 h 558"/>
                <a:gd name="T83" fmla="*/ 591 w 591"/>
                <a:gd name="T84" fmla="*/ 558 h 558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591" h="558">
                  <a:moveTo>
                    <a:pt x="4" y="174"/>
                  </a:moveTo>
                  <a:lnTo>
                    <a:pt x="54" y="216"/>
                  </a:lnTo>
                  <a:lnTo>
                    <a:pt x="88" y="324"/>
                  </a:lnTo>
                  <a:lnTo>
                    <a:pt x="54" y="356"/>
                  </a:lnTo>
                  <a:lnTo>
                    <a:pt x="115" y="368"/>
                  </a:lnTo>
                  <a:lnTo>
                    <a:pt x="109" y="422"/>
                  </a:lnTo>
                  <a:lnTo>
                    <a:pt x="180" y="414"/>
                  </a:lnTo>
                  <a:lnTo>
                    <a:pt x="236" y="462"/>
                  </a:lnTo>
                  <a:lnTo>
                    <a:pt x="240" y="527"/>
                  </a:lnTo>
                  <a:lnTo>
                    <a:pt x="315" y="483"/>
                  </a:lnTo>
                  <a:lnTo>
                    <a:pt x="420" y="558"/>
                  </a:lnTo>
                  <a:lnTo>
                    <a:pt x="530" y="506"/>
                  </a:lnTo>
                  <a:lnTo>
                    <a:pt x="480" y="443"/>
                  </a:lnTo>
                  <a:lnTo>
                    <a:pt x="488" y="433"/>
                  </a:lnTo>
                  <a:lnTo>
                    <a:pt x="591" y="339"/>
                  </a:lnTo>
                  <a:lnTo>
                    <a:pt x="568" y="228"/>
                  </a:lnTo>
                  <a:lnTo>
                    <a:pt x="532" y="130"/>
                  </a:lnTo>
                  <a:lnTo>
                    <a:pt x="445" y="84"/>
                  </a:lnTo>
                  <a:lnTo>
                    <a:pt x="434" y="26"/>
                  </a:lnTo>
                  <a:lnTo>
                    <a:pt x="380" y="24"/>
                  </a:lnTo>
                  <a:lnTo>
                    <a:pt x="203" y="0"/>
                  </a:lnTo>
                  <a:lnTo>
                    <a:pt x="167" y="44"/>
                  </a:lnTo>
                  <a:lnTo>
                    <a:pt x="69" y="19"/>
                  </a:lnTo>
                  <a:lnTo>
                    <a:pt x="21" y="67"/>
                  </a:lnTo>
                  <a:lnTo>
                    <a:pt x="29" y="122"/>
                  </a:lnTo>
                  <a:lnTo>
                    <a:pt x="0" y="161"/>
                  </a:lnTo>
                  <a:lnTo>
                    <a:pt x="4" y="174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chemeClr val="folHlink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anchor="ctr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FFFFFF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86" name="Freeform 102"/>
            <p:cNvSpPr>
              <a:spLocks/>
            </p:cNvSpPr>
            <p:nvPr/>
          </p:nvSpPr>
          <p:spPr bwMode="gray">
            <a:xfrm>
              <a:off x="1981309" y="2955842"/>
              <a:ext cx="473435" cy="530090"/>
            </a:xfrm>
            <a:custGeom>
              <a:avLst/>
              <a:gdLst>
                <a:gd name="T0" fmla="*/ 2 w 616"/>
                <a:gd name="T1" fmla="*/ 115 h 666"/>
                <a:gd name="T2" fmla="*/ 11 w 616"/>
                <a:gd name="T3" fmla="*/ 101 h 666"/>
                <a:gd name="T4" fmla="*/ 19 w 616"/>
                <a:gd name="T5" fmla="*/ 104 h 666"/>
                <a:gd name="T6" fmla="*/ 23 w 616"/>
                <a:gd name="T7" fmla="*/ 82 h 666"/>
                <a:gd name="T8" fmla="*/ 39 w 616"/>
                <a:gd name="T9" fmla="*/ 74 h 666"/>
                <a:gd name="T10" fmla="*/ 24 w 616"/>
                <a:gd name="T11" fmla="*/ 60 h 666"/>
                <a:gd name="T12" fmla="*/ 25 w 616"/>
                <a:gd name="T13" fmla="*/ 45 h 666"/>
                <a:gd name="T14" fmla="*/ 25 w 616"/>
                <a:gd name="T15" fmla="*/ 28 h 666"/>
                <a:gd name="T16" fmla="*/ 70 w 616"/>
                <a:gd name="T17" fmla="*/ 3 h 666"/>
                <a:gd name="T18" fmla="*/ 91 w 616"/>
                <a:gd name="T19" fmla="*/ 0 h 666"/>
                <a:gd name="T20" fmla="*/ 99 w 616"/>
                <a:gd name="T21" fmla="*/ 10 h 666"/>
                <a:gd name="T22" fmla="*/ 100 w 616"/>
                <a:gd name="T23" fmla="*/ 23 h 666"/>
                <a:gd name="T24" fmla="*/ 93 w 616"/>
                <a:gd name="T25" fmla="*/ 33 h 666"/>
                <a:gd name="T26" fmla="*/ 94 w 616"/>
                <a:gd name="T27" fmla="*/ 36 h 666"/>
                <a:gd name="T28" fmla="*/ 106 w 616"/>
                <a:gd name="T29" fmla="*/ 46 h 666"/>
                <a:gd name="T30" fmla="*/ 115 w 616"/>
                <a:gd name="T31" fmla="*/ 74 h 666"/>
                <a:gd name="T32" fmla="*/ 107 w 616"/>
                <a:gd name="T33" fmla="*/ 82 h 666"/>
                <a:gd name="T34" fmla="*/ 122 w 616"/>
                <a:gd name="T35" fmla="*/ 84 h 666"/>
                <a:gd name="T36" fmla="*/ 120 w 616"/>
                <a:gd name="T37" fmla="*/ 97 h 666"/>
                <a:gd name="T38" fmla="*/ 140 w 616"/>
                <a:gd name="T39" fmla="*/ 96 h 666"/>
                <a:gd name="T40" fmla="*/ 152 w 616"/>
                <a:gd name="T41" fmla="*/ 107 h 666"/>
                <a:gd name="T42" fmla="*/ 154 w 616"/>
                <a:gd name="T43" fmla="*/ 124 h 666"/>
                <a:gd name="T44" fmla="*/ 75 w 616"/>
                <a:gd name="T45" fmla="*/ 167 h 666"/>
                <a:gd name="T46" fmla="*/ 58 w 616"/>
                <a:gd name="T47" fmla="*/ 159 h 666"/>
                <a:gd name="T48" fmla="*/ 65 w 616"/>
                <a:gd name="T49" fmla="*/ 153 h 666"/>
                <a:gd name="T50" fmla="*/ 56 w 616"/>
                <a:gd name="T51" fmla="*/ 152 h 666"/>
                <a:gd name="T52" fmla="*/ 47 w 616"/>
                <a:gd name="T53" fmla="*/ 138 h 666"/>
                <a:gd name="T54" fmla="*/ 28 w 616"/>
                <a:gd name="T55" fmla="*/ 135 h 666"/>
                <a:gd name="T56" fmla="*/ 21 w 616"/>
                <a:gd name="T57" fmla="*/ 143 h 666"/>
                <a:gd name="T58" fmla="*/ 13 w 616"/>
                <a:gd name="T59" fmla="*/ 123 h 666"/>
                <a:gd name="T60" fmla="*/ 0 w 616"/>
                <a:gd name="T61" fmla="*/ 118 h 666"/>
                <a:gd name="T62" fmla="*/ 2 w 616"/>
                <a:gd name="T63" fmla="*/ 115 h 66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16"/>
                <a:gd name="T97" fmla="*/ 0 h 666"/>
                <a:gd name="T98" fmla="*/ 616 w 616"/>
                <a:gd name="T99" fmla="*/ 666 h 66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16" h="666">
                  <a:moveTo>
                    <a:pt x="11" y="463"/>
                  </a:moveTo>
                  <a:lnTo>
                    <a:pt x="44" y="405"/>
                  </a:lnTo>
                  <a:lnTo>
                    <a:pt x="76" y="417"/>
                  </a:lnTo>
                  <a:lnTo>
                    <a:pt x="94" y="325"/>
                  </a:lnTo>
                  <a:lnTo>
                    <a:pt x="157" y="296"/>
                  </a:lnTo>
                  <a:lnTo>
                    <a:pt x="96" y="240"/>
                  </a:lnTo>
                  <a:lnTo>
                    <a:pt x="103" y="183"/>
                  </a:lnTo>
                  <a:lnTo>
                    <a:pt x="100" y="113"/>
                  </a:lnTo>
                  <a:lnTo>
                    <a:pt x="280" y="12"/>
                  </a:lnTo>
                  <a:lnTo>
                    <a:pt x="364" y="0"/>
                  </a:lnTo>
                  <a:lnTo>
                    <a:pt x="397" y="37"/>
                  </a:lnTo>
                  <a:lnTo>
                    <a:pt x="401" y="92"/>
                  </a:lnTo>
                  <a:lnTo>
                    <a:pt x="372" y="131"/>
                  </a:lnTo>
                  <a:lnTo>
                    <a:pt x="376" y="144"/>
                  </a:lnTo>
                  <a:lnTo>
                    <a:pt x="426" y="186"/>
                  </a:lnTo>
                  <a:lnTo>
                    <a:pt x="462" y="294"/>
                  </a:lnTo>
                  <a:lnTo>
                    <a:pt x="428" y="326"/>
                  </a:lnTo>
                  <a:lnTo>
                    <a:pt x="489" y="338"/>
                  </a:lnTo>
                  <a:lnTo>
                    <a:pt x="483" y="390"/>
                  </a:lnTo>
                  <a:lnTo>
                    <a:pt x="560" y="384"/>
                  </a:lnTo>
                  <a:lnTo>
                    <a:pt x="608" y="428"/>
                  </a:lnTo>
                  <a:lnTo>
                    <a:pt x="616" y="497"/>
                  </a:lnTo>
                  <a:lnTo>
                    <a:pt x="299" y="666"/>
                  </a:lnTo>
                  <a:lnTo>
                    <a:pt x="232" y="635"/>
                  </a:lnTo>
                  <a:lnTo>
                    <a:pt x="259" y="609"/>
                  </a:lnTo>
                  <a:lnTo>
                    <a:pt x="224" y="607"/>
                  </a:lnTo>
                  <a:lnTo>
                    <a:pt x="190" y="551"/>
                  </a:lnTo>
                  <a:lnTo>
                    <a:pt x="115" y="540"/>
                  </a:lnTo>
                  <a:lnTo>
                    <a:pt x="86" y="570"/>
                  </a:lnTo>
                  <a:lnTo>
                    <a:pt x="55" y="493"/>
                  </a:lnTo>
                  <a:lnTo>
                    <a:pt x="0" y="474"/>
                  </a:lnTo>
                  <a:lnTo>
                    <a:pt x="11" y="463"/>
                  </a:lnTo>
                  <a:close/>
                </a:path>
              </a:pathLst>
            </a:custGeom>
            <a:solidFill>
              <a:srgbClr val="99DFB9"/>
            </a:solidFill>
            <a:ln w="9525">
              <a:solidFill>
                <a:srgbClr val="99DFB9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anchor="ctr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FFFFFF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87" name="Oval 292"/>
            <p:cNvSpPr>
              <a:spLocks noChangeArrowheads="1"/>
            </p:cNvSpPr>
            <p:nvPr/>
          </p:nvSpPr>
          <p:spPr bwMode="auto">
            <a:xfrm>
              <a:off x="2421193" y="2274832"/>
              <a:ext cx="216000" cy="216000"/>
            </a:xfrm>
            <a:prstGeom prst="ellipse">
              <a:avLst/>
            </a:prstGeom>
            <a:solidFill>
              <a:srgbClr val="4D4D4D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r>
                <a:rPr lang="en-US" sz="1100" b="1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188" name="Oval 293"/>
            <p:cNvSpPr>
              <a:spLocks noChangeArrowheads="1"/>
            </p:cNvSpPr>
            <p:nvPr/>
          </p:nvSpPr>
          <p:spPr bwMode="auto">
            <a:xfrm>
              <a:off x="3289030" y="2278572"/>
              <a:ext cx="216000" cy="216000"/>
            </a:xfrm>
            <a:prstGeom prst="ellipse">
              <a:avLst/>
            </a:prstGeom>
            <a:solidFill>
              <a:srgbClr val="4D4D4D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r>
                <a:rPr lang="en-US" sz="1100" b="1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3</a:t>
              </a:r>
            </a:p>
          </p:txBody>
        </p:sp>
        <p:sp>
          <p:nvSpPr>
            <p:cNvPr id="189" name="Oval 294"/>
            <p:cNvSpPr>
              <a:spLocks noChangeArrowheads="1"/>
            </p:cNvSpPr>
            <p:nvPr/>
          </p:nvSpPr>
          <p:spPr bwMode="auto">
            <a:xfrm>
              <a:off x="2353364" y="3613949"/>
              <a:ext cx="216000" cy="216000"/>
            </a:xfrm>
            <a:prstGeom prst="ellipse">
              <a:avLst/>
            </a:prstGeom>
            <a:solidFill>
              <a:srgbClr val="4D4D4D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r>
                <a:rPr lang="en-US" sz="1100" b="1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2</a:t>
              </a:r>
            </a:p>
          </p:txBody>
        </p:sp>
        <p:sp>
          <p:nvSpPr>
            <p:cNvPr id="190" name="Oval 297"/>
            <p:cNvSpPr>
              <a:spLocks noChangeArrowheads="1"/>
            </p:cNvSpPr>
            <p:nvPr/>
          </p:nvSpPr>
          <p:spPr bwMode="auto">
            <a:xfrm>
              <a:off x="3003479" y="4101214"/>
              <a:ext cx="216000" cy="216000"/>
            </a:xfrm>
            <a:prstGeom prst="ellipse">
              <a:avLst/>
            </a:prstGeom>
            <a:solidFill>
              <a:srgbClr val="4D4D4D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r>
                <a:rPr lang="en-US" sz="1100" b="1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5</a:t>
              </a:r>
            </a:p>
          </p:txBody>
        </p:sp>
        <p:sp>
          <p:nvSpPr>
            <p:cNvPr id="191" name="Oval 299"/>
            <p:cNvSpPr>
              <a:spLocks noChangeArrowheads="1"/>
            </p:cNvSpPr>
            <p:nvPr/>
          </p:nvSpPr>
          <p:spPr bwMode="auto">
            <a:xfrm>
              <a:off x="3134735" y="3232203"/>
              <a:ext cx="216000" cy="216000"/>
            </a:xfrm>
            <a:prstGeom prst="ellipse">
              <a:avLst/>
            </a:prstGeom>
            <a:solidFill>
              <a:srgbClr val="4D4D4D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r>
                <a:rPr lang="it-IT" sz="1100" b="1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4</a:t>
              </a:r>
              <a:endParaRPr lang="en-US" sz="1100" b="1">
                <a:solidFill>
                  <a:srgbClr val="FFFFFF"/>
                </a:solidFill>
                <a:latin typeface="+mj-lt"/>
                <a:cs typeface="Calibri" panose="020F0502020204030204" pitchFamily="34" charset="0"/>
              </a:endParaRPr>
            </a:p>
          </p:txBody>
        </p:sp>
      </p:grpSp>
      <p:grpSp>
        <p:nvGrpSpPr>
          <p:cNvPr id="192" name="Gruppo 175"/>
          <p:cNvGrpSpPr/>
          <p:nvPr/>
        </p:nvGrpSpPr>
        <p:grpSpPr>
          <a:xfrm>
            <a:off x="7502632" y="2360307"/>
            <a:ext cx="1581206" cy="2482846"/>
            <a:chOff x="7908934" y="1504059"/>
            <a:chExt cx="1581206" cy="2482846"/>
          </a:xfrm>
        </p:grpSpPr>
        <p:sp>
          <p:nvSpPr>
            <p:cNvPr id="193" name="Freeform 31"/>
            <p:cNvSpPr>
              <a:spLocks/>
            </p:cNvSpPr>
            <p:nvPr/>
          </p:nvSpPr>
          <p:spPr bwMode="gray">
            <a:xfrm>
              <a:off x="8294754" y="1864430"/>
              <a:ext cx="415925" cy="568325"/>
            </a:xfrm>
            <a:custGeom>
              <a:avLst/>
              <a:gdLst>
                <a:gd name="T0" fmla="*/ 671 w 620"/>
                <a:gd name="T1" fmla="*/ 57581 h 838"/>
                <a:gd name="T2" fmla="*/ 4700 w 620"/>
                <a:gd name="T3" fmla="*/ 47420 h 838"/>
                <a:gd name="T4" fmla="*/ 10071 w 620"/>
                <a:gd name="T5" fmla="*/ 46742 h 838"/>
                <a:gd name="T6" fmla="*/ 13429 w 620"/>
                <a:gd name="T7" fmla="*/ 39291 h 838"/>
                <a:gd name="T8" fmla="*/ 30886 w 620"/>
                <a:gd name="T9" fmla="*/ 37936 h 838"/>
                <a:gd name="T10" fmla="*/ 26857 w 620"/>
                <a:gd name="T11" fmla="*/ 23710 h 838"/>
                <a:gd name="T12" fmla="*/ 36257 w 620"/>
                <a:gd name="T13" fmla="*/ 25065 h 838"/>
                <a:gd name="T14" fmla="*/ 38272 w 620"/>
                <a:gd name="T15" fmla="*/ 16258 h 838"/>
                <a:gd name="T16" fmla="*/ 28200 w 620"/>
                <a:gd name="T17" fmla="*/ 4742 h 838"/>
                <a:gd name="T18" fmla="*/ 38272 w 620"/>
                <a:gd name="T19" fmla="*/ 0 h 838"/>
                <a:gd name="T20" fmla="*/ 61772 w 620"/>
                <a:gd name="T21" fmla="*/ 6097 h 838"/>
                <a:gd name="T22" fmla="*/ 71843 w 620"/>
                <a:gd name="T23" fmla="*/ 16936 h 838"/>
                <a:gd name="T24" fmla="*/ 76543 w 620"/>
                <a:gd name="T25" fmla="*/ 11516 h 838"/>
                <a:gd name="T26" fmla="*/ 82586 w 620"/>
                <a:gd name="T27" fmla="*/ 16258 h 838"/>
                <a:gd name="T28" fmla="*/ 88629 w 620"/>
                <a:gd name="T29" fmla="*/ 12871 h 838"/>
                <a:gd name="T30" fmla="*/ 93329 w 620"/>
                <a:gd name="T31" fmla="*/ 23032 h 838"/>
                <a:gd name="T32" fmla="*/ 87958 w 620"/>
                <a:gd name="T33" fmla="*/ 35226 h 838"/>
                <a:gd name="T34" fmla="*/ 96686 w 620"/>
                <a:gd name="T35" fmla="*/ 44710 h 838"/>
                <a:gd name="T36" fmla="*/ 104072 w 620"/>
                <a:gd name="T37" fmla="*/ 70452 h 838"/>
                <a:gd name="T38" fmla="*/ 100043 w 620"/>
                <a:gd name="T39" fmla="*/ 98904 h 838"/>
                <a:gd name="T40" fmla="*/ 90643 w 620"/>
                <a:gd name="T41" fmla="*/ 99581 h 838"/>
                <a:gd name="T42" fmla="*/ 85272 w 620"/>
                <a:gd name="T43" fmla="*/ 106356 h 838"/>
                <a:gd name="T44" fmla="*/ 73186 w 620"/>
                <a:gd name="T45" fmla="*/ 105001 h 838"/>
                <a:gd name="T46" fmla="*/ 63115 w 620"/>
                <a:gd name="T47" fmla="*/ 114485 h 838"/>
                <a:gd name="T48" fmla="*/ 65800 w 620"/>
                <a:gd name="T49" fmla="*/ 127356 h 838"/>
                <a:gd name="T50" fmla="*/ 46329 w 620"/>
                <a:gd name="T51" fmla="*/ 130743 h 838"/>
                <a:gd name="T52" fmla="*/ 38272 w 620"/>
                <a:gd name="T53" fmla="*/ 142259 h 838"/>
                <a:gd name="T54" fmla="*/ 29543 w 620"/>
                <a:gd name="T55" fmla="*/ 141582 h 838"/>
                <a:gd name="T56" fmla="*/ 31557 w 620"/>
                <a:gd name="T57" fmla="*/ 115839 h 838"/>
                <a:gd name="T58" fmla="*/ 22829 w 620"/>
                <a:gd name="T59" fmla="*/ 104323 h 838"/>
                <a:gd name="T60" fmla="*/ 26186 w 620"/>
                <a:gd name="T61" fmla="*/ 100936 h 838"/>
                <a:gd name="T62" fmla="*/ 20814 w 620"/>
                <a:gd name="T63" fmla="*/ 93484 h 838"/>
                <a:gd name="T64" fmla="*/ 30214 w 620"/>
                <a:gd name="T65" fmla="*/ 83323 h 838"/>
                <a:gd name="T66" fmla="*/ 23500 w 620"/>
                <a:gd name="T67" fmla="*/ 81291 h 838"/>
                <a:gd name="T68" fmla="*/ 26186 w 620"/>
                <a:gd name="T69" fmla="*/ 73162 h 838"/>
                <a:gd name="T70" fmla="*/ 16786 w 620"/>
                <a:gd name="T71" fmla="*/ 58936 h 838"/>
                <a:gd name="T72" fmla="*/ 0 w 620"/>
                <a:gd name="T73" fmla="*/ 57581 h 838"/>
                <a:gd name="T74" fmla="*/ 671 w 620"/>
                <a:gd name="T75" fmla="*/ 57581 h 83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620"/>
                <a:gd name="T115" fmla="*/ 0 h 838"/>
                <a:gd name="T116" fmla="*/ 620 w 620"/>
                <a:gd name="T117" fmla="*/ 838 h 83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620" h="838">
                  <a:moveTo>
                    <a:pt x="1" y="338"/>
                  </a:moveTo>
                  <a:lnTo>
                    <a:pt x="30" y="278"/>
                  </a:lnTo>
                  <a:lnTo>
                    <a:pt x="63" y="276"/>
                  </a:lnTo>
                  <a:lnTo>
                    <a:pt x="82" y="232"/>
                  </a:lnTo>
                  <a:lnTo>
                    <a:pt x="184" y="224"/>
                  </a:lnTo>
                  <a:lnTo>
                    <a:pt x="163" y="140"/>
                  </a:lnTo>
                  <a:lnTo>
                    <a:pt x="218" y="148"/>
                  </a:lnTo>
                  <a:lnTo>
                    <a:pt x="228" y="94"/>
                  </a:lnTo>
                  <a:lnTo>
                    <a:pt x="170" y="29"/>
                  </a:lnTo>
                  <a:lnTo>
                    <a:pt x="228" y="0"/>
                  </a:lnTo>
                  <a:lnTo>
                    <a:pt x="370" y="34"/>
                  </a:lnTo>
                  <a:lnTo>
                    <a:pt x="428" y="100"/>
                  </a:lnTo>
                  <a:lnTo>
                    <a:pt x="458" y="65"/>
                  </a:lnTo>
                  <a:lnTo>
                    <a:pt x="493" y="94"/>
                  </a:lnTo>
                  <a:lnTo>
                    <a:pt x="525" y="75"/>
                  </a:lnTo>
                  <a:lnTo>
                    <a:pt x="554" y="136"/>
                  </a:lnTo>
                  <a:lnTo>
                    <a:pt x="522" y="209"/>
                  </a:lnTo>
                  <a:lnTo>
                    <a:pt x="575" y="261"/>
                  </a:lnTo>
                  <a:lnTo>
                    <a:pt x="620" y="416"/>
                  </a:lnTo>
                  <a:lnTo>
                    <a:pt x="593" y="583"/>
                  </a:lnTo>
                  <a:lnTo>
                    <a:pt x="537" y="585"/>
                  </a:lnTo>
                  <a:lnTo>
                    <a:pt x="510" y="627"/>
                  </a:lnTo>
                  <a:lnTo>
                    <a:pt x="439" y="620"/>
                  </a:lnTo>
                  <a:lnTo>
                    <a:pt x="376" y="673"/>
                  </a:lnTo>
                  <a:lnTo>
                    <a:pt x="395" y="750"/>
                  </a:lnTo>
                  <a:lnTo>
                    <a:pt x="274" y="771"/>
                  </a:lnTo>
                  <a:lnTo>
                    <a:pt x="228" y="838"/>
                  </a:lnTo>
                  <a:lnTo>
                    <a:pt x="178" y="836"/>
                  </a:lnTo>
                  <a:lnTo>
                    <a:pt x="191" y="683"/>
                  </a:lnTo>
                  <a:lnTo>
                    <a:pt x="134" y="616"/>
                  </a:lnTo>
                  <a:lnTo>
                    <a:pt x="157" y="593"/>
                  </a:lnTo>
                  <a:lnTo>
                    <a:pt x="126" y="551"/>
                  </a:lnTo>
                  <a:lnTo>
                    <a:pt x="182" y="495"/>
                  </a:lnTo>
                  <a:lnTo>
                    <a:pt x="138" y="480"/>
                  </a:lnTo>
                  <a:lnTo>
                    <a:pt x="157" y="435"/>
                  </a:lnTo>
                  <a:lnTo>
                    <a:pt x="103" y="347"/>
                  </a:lnTo>
                  <a:lnTo>
                    <a:pt x="0" y="339"/>
                  </a:lnTo>
                  <a:lnTo>
                    <a:pt x="1" y="338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94" name="Freeform 33"/>
            <p:cNvSpPr>
              <a:spLocks/>
            </p:cNvSpPr>
            <p:nvPr/>
          </p:nvSpPr>
          <p:spPr bwMode="gray">
            <a:xfrm>
              <a:off x="8002596" y="2026342"/>
              <a:ext cx="422275" cy="433388"/>
            </a:xfrm>
            <a:custGeom>
              <a:avLst/>
              <a:gdLst>
                <a:gd name="T0" fmla="*/ 0 w 629"/>
                <a:gd name="T1" fmla="*/ 59520 h 641"/>
                <a:gd name="T2" fmla="*/ 2690 w 629"/>
                <a:gd name="T3" fmla="*/ 78459 h 641"/>
                <a:gd name="T4" fmla="*/ 21520 w 629"/>
                <a:gd name="T5" fmla="*/ 89280 h 641"/>
                <a:gd name="T6" fmla="*/ 21520 w 629"/>
                <a:gd name="T7" fmla="*/ 96044 h 641"/>
                <a:gd name="T8" fmla="*/ 26227 w 629"/>
                <a:gd name="T9" fmla="*/ 97397 h 641"/>
                <a:gd name="T10" fmla="*/ 23537 w 629"/>
                <a:gd name="T11" fmla="*/ 103484 h 641"/>
                <a:gd name="T12" fmla="*/ 37660 w 629"/>
                <a:gd name="T13" fmla="*/ 101455 h 641"/>
                <a:gd name="T14" fmla="*/ 43712 w 629"/>
                <a:gd name="T15" fmla="*/ 108219 h 641"/>
                <a:gd name="T16" fmla="*/ 51110 w 629"/>
                <a:gd name="T17" fmla="*/ 99426 h 641"/>
                <a:gd name="T18" fmla="*/ 67250 w 629"/>
                <a:gd name="T19" fmla="*/ 104160 h 641"/>
                <a:gd name="T20" fmla="*/ 73302 w 629"/>
                <a:gd name="T21" fmla="*/ 96720 h 641"/>
                <a:gd name="T22" fmla="*/ 103565 w 629"/>
                <a:gd name="T23" fmla="*/ 100779 h 641"/>
                <a:gd name="T24" fmla="*/ 106255 w 629"/>
                <a:gd name="T25" fmla="*/ 75077 h 641"/>
                <a:gd name="T26" fmla="*/ 95495 w 629"/>
                <a:gd name="T27" fmla="*/ 63578 h 641"/>
                <a:gd name="T28" fmla="*/ 100202 w 629"/>
                <a:gd name="T29" fmla="*/ 60197 h 641"/>
                <a:gd name="T30" fmla="*/ 94822 w 629"/>
                <a:gd name="T31" fmla="*/ 53433 h 641"/>
                <a:gd name="T32" fmla="*/ 103565 w 629"/>
                <a:gd name="T33" fmla="*/ 43287 h 641"/>
                <a:gd name="T34" fmla="*/ 96840 w 629"/>
                <a:gd name="T35" fmla="*/ 40582 h 641"/>
                <a:gd name="T36" fmla="*/ 99530 w 629"/>
                <a:gd name="T37" fmla="*/ 33142 h 641"/>
                <a:gd name="T38" fmla="*/ 90787 w 629"/>
                <a:gd name="T39" fmla="*/ 18262 h 641"/>
                <a:gd name="T40" fmla="*/ 73302 w 629"/>
                <a:gd name="T41" fmla="*/ 16909 h 641"/>
                <a:gd name="T42" fmla="*/ 78682 w 629"/>
                <a:gd name="T43" fmla="*/ 6764 h 641"/>
                <a:gd name="T44" fmla="*/ 59180 w 629"/>
                <a:gd name="T45" fmla="*/ 0 h 641"/>
                <a:gd name="T46" fmla="*/ 37660 w 629"/>
                <a:gd name="T47" fmla="*/ 9469 h 641"/>
                <a:gd name="T48" fmla="*/ 39677 w 629"/>
                <a:gd name="T49" fmla="*/ 18938 h 641"/>
                <a:gd name="T50" fmla="*/ 31607 w 629"/>
                <a:gd name="T51" fmla="*/ 29084 h 641"/>
                <a:gd name="T52" fmla="*/ 23537 w 629"/>
                <a:gd name="T53" fmla="*/ 26378 h 641"/>
                <a:gd name="T54" fmla="*/ 15467 w 629"/>
                <a:gd name="T55" fmla="*/ 31113 h 641"/>
                <a:gd name="T56" fmla="*/ 10760 w 629"/>
                <a:gd name="T57" fmla="*/ 58844 h 641"/>
                <a:gd name="T58" fmla="*/ 0 w 629"/>
                <a:gd name="T59" fmla="*/ 59520 h 64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29"/>
                <a:gd name="T91" fmla="*/ 0 h 641"/>
                <a:gd name="T92" fmla="*/ 629 w 629"/>
                <a:gd name="T93" fmla="*/ 641 h 64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29" h="641">
                  <a:moveTo>
                    <a:pt x="0" y="355"/>
                  </a:moveTo>
                  <a:lnTo>
                    <a:pt x="13" y="464"/>
                  </a:lnTo>
                  <a:lnTo>
                    <a:pt x="128" y="529"/>
                  </a:lnTo>
                  <a:lnTo>
                    <a:pt x="128" y="568"/>
                  </a:lnTo>
                  <a:lnTo>
                    <a:pt x="155" y="579"/>
                  </a:lnTo>
                  <a:lnTo>
                    <a:pt x="140" y="614"/>
                  </a:lnTo>
                  <a:lnTo>
                    <a:pt x="224" y="602"/>
                  </a:lnTo>
                  <a:lnTo>
                    <a:pt x="259" y="641"/>
                  </a:lnTo>
                  <a:lnTo>
                    <a:pt x="301" y="591"/>
                  </a:lnTo>
                  <a:lnTo>
                    <a:pt x="397" y="618"/>
                  </a:lnTo>
                  <a:lnTo>
                    <a:pt x="436" y="574"/>
                  </a:lnTo>
                  <a:lnTo>
                    <a:pt x="614" y="598"/>
                  </a:lnTo>
                  <a:lnTo>
                    <a:pt x="629" y="445"/>
                  </a:lnTo>
                  <a:lnTo>
                    <a:pt x="568" y="378"/>
                  </a:lnTo>
                  <a:lnTo>
                    <a:pt x="595" y="359"/>
                  </a:lnTo>
                  <a:lnTo>
                    <a:pt x="564" y="316"/>
                  </a:lnTo>
                  <a:lnTo>
                    <a:pt x="614" y="257"/>
                  </a:lnTo>
                  <a:lnTo>
                    <a:pt x="576" y="240"/>
                  </a:lnTo>
                  <a:lnTo>
                    <a:pt x="591" y="197"/>
                  </a:lnTo>
                  <a:lnTo>
                    <a:pt x="537" y="109"/>
                  </a:lnTo>
                  <a:lnTo>
                    <a:pt x="434" y="101"/>
                  </a:lnTo>
                  <a:lnTo>
                    <a:pt x="466" y="42"/>
                  </a:lnTo>
                  <a:lnTo>
                    <a:pt x="351" y="0"/>
                  </a:lnTo>
                  <a:lnTo>
                    <a:pt x="224" y="59"/>
                  </a:lnTo>
                  <a:lnTo>
                    <a:pt x="236" y="113"/>
                  </a:lnTo>
                  <a:lnTo>
                    <a:pt x="186" y="172"/>
                  </a:lnTo>
                  <a:lnTo>
                    <a:pt x="140" y="159"/>
                  </a:lnTo>
                  <a:lnTo>
                    <a:pt x="92" y="184"/>
                  </a:lnTo>
                  <a:lnTo>
                    <a:pt x="61" y="349"/>
                  </a:lnTo>
                  <a:lnTo>
                    <a:pt x="0" y="355"/>
                  </a:lnTo>
                  <a:close/>
                </a:path>
              </a:pathLst>
            </a:custGeom>
            <a:solidFill>
              <a:srgbClr val="99DFB9"/>
            </a:solidFill>
            <a:ln w="9525">
              <a:solidFill>
                <a:srgbClr val="99DFB9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95" name="Freeform 225"/>
            <p:cNvSpPr>
              <a:spLocks/>
            </p:cNvSpPr>
            <p:nvPr/>
          </p:nvSpPr>
          <p:spPr bwMode="gray">
            <a:xfrm>
              <a:off x="7926454" y="1616769"/>
              <a:ext cx="522287" cy="449263"/>
            </a:xfrm>
            <a:custGeom>
              <a:avLst/>
              <a:gdLst>
                <a:gd name="T0" fmla="*/ 1345 w 777"/>
                <a:gd name="T1" fmla="*/ 51484 h 662"/>
                <a:gd name="T2" fmla="*/ 21514 w 777"/>
                <a:gd name="T3" fmla="*/ 52839 h 662"/>
                <a:gd name="T4" fmla="*/ 22186 w 777"/>
                <a:gd name="T5" fmla="*/ 61645 h 662"/>
                <a:gd name="T6" fmla="*/ 25547 w 777"/>
                <a:gd name="T7" fmla="*/ 58936 h 662"/>
                <a:gd name="T8" fmla="*/ 34959 w 777"/>
                <a:gd name="T9" fmla="*/ 62323 h 662"/>
                <a:gd name="T10" fmla="*/ 42355 w 777"/>
                <a:gd name="T11" fmla="*/ 81291 h 662"/>
                <a:gd name="T12" fmla="*/ 39666 w 777"/>
                <a:gd name="T13" fmla="*/ 99581 h 662"/>
                <a:gd name="T14" fmla="*/ 49750 w 777"/>
                <a:gd name="T15" fmla="*/ 100259 h 662"/>
                <a:gd name="T16" fmla="*/ 57145 w 777"/>
                <a:gd name="T17" fmla="*/ 112452 h 662"/>
                <a:gd name="T18" fmla="*/ 78659 w 777"/>
                <a:gd name="T19" fmla="*/ 102968 h 662"/>
                <a:gd name="T20" fmla="*/ 96811 w 777"/>
                <a:gd name="T21" fmla="*/ 109743 h 662"/>
                <a:gd name="T22" fmla="*/ 103534 w 777"/>
                <a:gd name="T23" fmla="*/ 109743 h 662"/>
                <a:gd name="T24" fmla="*/ 106223 w 777"/>
                <a:gd name="T25" fmla="*/ 101613 h 662"/>
                <a:gd name="T26" fmla="*/ 123703 w 777"/>
                <a:gd name="T27" fmla="*/ 100259 h 662"/>
                <a:gd name="T28" fmla="*/ 120341 w 777"/>
                <a:gd name="T29" fmla="*/ 85355 h 662"/>
                <a:gd name="T30" fmla="*/ 129081 w 777"/>
                <a:gd name="T31" fmla="*/ 88065 h 662"/>
                <a:gd name="T32" fmla="*/ 131098 w 777"/>
                <a:gd name="T33" fmla="*/ 77904 h 662"/>
                <a:gd name="T34" fmla="*/ 121014 w 777"/>
                <a:gd name="T35" fmla="*/ 67065 h 662"/>
                <a:gd name="T36" fmla="*/ 131098 w 777"/>
                <a:gd name="T37" fmla="*/ 61645 h 662"/>
                <a:gd name="T38" fmla="*/ 127736 w 777"/>
                <a:gd name="T39" fmla="*/ 56226 h 662"/>
                <a:gd name="T40" fmla="*/ 116980 w 777"/>
                <a:gd name="T41" fmla="*/ 54871 h 662"/>
                <a:gd name="T42" fmla="*/ 100172 w 777"/>
                <a:gd name="T43" fmla="*/ 54194 h 662"/>
                <a:gd name="T44" fmla="*/ 94794 w 777"/>
                <a:gd name="T45" fmla="*/ 59613 h 662"/>
                <a:gd name="T46" fmla="*/ 89416 w 777"/>
                <a:gd name="T47" fmla="*/ 48774 h 662"/>
                <a:gd name="T48" fmla="*/ 82693 w 777"/>
                <a:gd name="T49" fmla="*/ 45387 h 662"/>
                <a:gd name="T50" fmla="*/ 78659 w 777"/>
                <a:gd name="T51" fmla="*/ 49452 h 662"/>
                <a:gd name="T52" fmla="*/ 75297 w 777"/>
                <a:gd name="T53" fmla="*/ 35903 h 662"/>
                <a:gd name="T54" fmla="*/ 80676 w 777"/>
                <a:gd name="T55" fmla="*/ 29807 h 662"/>
                <a:gd name="T56" fmla="*/ 74625 w 777"/>
                <a:gd name="T57" fmla="*/ 18290 h 662"/>
                <a:gd name="T58" fmla="*/ 67902 w 777"/>
                <a:gd name="T59" fmla="*/ 14903 h 662"/>
                <a:gd name="T60" fmla="*/ 62524 w 777"/>
                <a:gd name="T61" fmla="*/ 21000 h 662"/>
                <a:gd name="T62" fmla="*/ 49750 w 777"/>
                <a:gd name="T63" fmla="*/ 18968 h 662"/>
                <a:gd name="T64" fmla="*/ 42355 w 777"/>
                <a:gd name="T65" fmla="*/ 6774 h 662"/>
                <a:gd name="T66" fmla="*/ 34959 w 777"/>
                <a:gd name="T67" fmla="*/ 4742 h 662"/>
                <a:gd name="T68" fmla="*/ 36304 w 777"/>
                <a:gd name="T69" fmla="*/ 0 h 662"/>
                <a:gd name="T70" fmla="*/ 20841 w 777"/>
                <a:gd name="T71" fmla="*/ 3387 h 662"/>
                <a:gd name="T72" fmla="*/ 17480 w 777"/>
                <a:gd name="T73" fmla="*/ 7452 h 662"/>
                <a:gd name="T74" fmla="*/ 19497 w 777"/>
                <a:gd name="T75" fmla="*/ 27774 h 662"/>
                <a:gd name="T76" fmla="*/ 14118 w 777"/>
                <a:gd name="T77" fmla="*/ 27097 h 662"/>
                <a:gd name="T78" fmla="*/ 14791 w 777"/>
                <a:gd name="T79" fmla="*/ 33194 h 662"/>
                <a:gd name="T80" fmla="*/ 0 w 777"/>
                <a:gd name="T81" fmla="*/ 48774 h 662"/>
                <a:gd name="T82" fmla="*/ 1345 w 777"/>
                <a:gd name="T83" fmla="*/ 51484 h 66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777"/>
                <a:gd name="T127" fmla="*/ 0 h 662"/>
                <a:gd name="T128" fmla="*/ 777 w 777"/>
                <a:gd name="T129" fmla="*/ 662 h 662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777" h="662">
                  <a:moveTo>
                    <a:pt x="5" y="303"/>
                  </a:moveTo>
                  <a:lnTo>
                    <a:pt x="126" y="309"/>
                  </a:lnTo>
                  <a:lnTo>
                    <a:pt x="132" y="365"/>
                  </a:lnTo>
                  <a:lnTo>
                    <a:pt x="151" y="348"/>
                  </a:lnTo>
                  <a:lnTo>
                    <a:pt x="205" y="369"/>
                  </a:lnTo>
                  <a:lnTo>
                    <a:pt x="251" y="480"/>
                  </a:lnTo>
                  <a:lnTo>
                    <a:pt x="236" y="586"/>
                  </a:lnTo>
                  <a:lnTo>
                    <a:pt x="295" y="591"/>
                  </a:lnTo>
                  <a:lnTo>
                    <a:pt x="339" y="662"/>
                  </a:lnTo>
                  <a:lnTo>
                    <a:pt x="466" y="605"/>
                  </a:lnTo>
                  <a:lnTo>
                    <a:pt x="575" y="647"/>
                  </a:lnTo>
                  <a:lnTo>
                    <a:pt x="614" y="645"/>
                  </a:lnTo>
                  <a:lnTo>
                    <a:pt x="631" y="599"/>
                  </a:lnTo>
                  <a:lnTo>
                    <a:pt x="733" y="591"/>
                  </a:lnTo>
                  <a:lnTo>
                    <a:pt x="716" y="507"/>
                  </a:lnTo>
                  <a:lnTo>
                    <a:pt x="767" y="520"/>
                  </a:lnTo>
                  <a:lnTo>
                    <a:pt x="777" y="461"/>
                  </a:lnTo>
                  <a:lnTo>
                    <a:pt x="717" y="396"/>
                  </a:lnTo>
                  <a:lnTo>
                    <a:pt x="777" y="367"/>
                  </a:lnTo>
                  <a:lnTo>
                    <a:pt x="758" y="332"/>
                  </a:lnTo>
                  <a:lnTo>
                    <a:pt x="694" y="321"/>
                  </a:lnTo>
                  <a:lnTo>
                    <a:pt x="595" y="317"/>
                  </a:lnTo>
                  <a:lnTo>
                    <a:pt x="564" y="353"/>
                  </a:lnTo>
                  <a:lnTo>
                    <a:pt x="529" y="286"/>
                  </a:lnTo>
                  <a:lnTo>
                    <a:pt x="491" y="267"/>
                  </a:lnTo>
                  <a:lnTo>
                    <a:pt x="466" y="290"/>
                  </a:lnTo>
                  <a:lnTo>
                    <a:pt x="447" y="215"/>
                  </a:lnTo>
                  <a:lnTo>
                    <a:pt x="479" y="177"/>
                  </a:lnTo>
                  <a:lnTo>
                    <a:pt x="443" y="110"/>
                  </a:lnTo>
                  <a:lnTo>
                    <a:pt x="403" y="90"/>
                  </a:lnTo>
                  <a:lnTo>
                    <a:pt x="370" y="127"/>
                  </a:lnTo>
                  <a:lnTo>
                    <a:pt x="293" y="113"/>
                  </a:lnTo>
                  <a:lnTo>
                    <a:pt x="251" y="39"/>
                  </a:lnTo>
                  <a:lnTo>
                    <a:pt x="205" y="31"/>
                  </a:lnTo>
                  <a:lnTo>
                    <a:pt x="216" y="0"/>
                  </a:lnTo>
                  <a:lnTo>
                    <a:pt x="124" y="17"/>
                  </a:lnTo>
                  <a:lnTo>
                    <a:pt x="103" y="46"/>
                  </a:lnTo>
                  <a:lnTo>
                    <a:pt x="113" y="161"/>
                  </a:lnTo>
                  <a:lnTo>
                    <a:pt x="82" y="159"/>
                  </a:lnTo>
                  <a:lnTo>
                    <a:pt x="88" y="198"/>
                  </a:lnTo>
                  <a:lnTo>
                    <a:pt x="0" y="286"/>
                  </a:lnTo>
                  <a:lnTo>
                    <a:pt x="5" y="303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96" name="Freeform 226"/>
            <p:cNvSpPr>
              <a:spLocks/>
            </p:cNvSpPr>
            <p:nvPr/>
          </p:nvSpPr>
          <p:spPr bwMode="gray">
            <a:xfrm>
              <a:off x="8221671" y="1526284"/>
              <a:ext cx="504825" cy="409575"/>
            </a:xfrm>
            <a:custGeom>
              <a:avLst/>
              <a:gdLst>
                <a:gd name="T0" fmla="*/ 671 w 753"/>
                <a:gd name="T1" fmla="*/ 38062 h 602"/>
                <a:gd name="T2" fmla="*/ 10058 w 753"/>
                <a:gd name="T3" fmla="*/ 30585 h 602"/>
                <a:gd name="T4" fmla="*/ 26822 w 753"/>
                <a:gd name="T5" fmla="*/ 29906 h 602"/>
                <a:gd name="T6" fmla="*/ 35539 w 753"/>
                <a:gd name="T7" fmla="*/ 19711 h 602"/>
                <a:gd name="T8" fmla="*/ 38221 w 753"/>
                <a:gd name="T9" fmla="*/ 6797 h 602"/>
                <a:gd name="T10" fmla="*/ 54984 w 753"/>
                <a:gd name="T11" fmla="*/ 0 h 602"/>
                <a:gd name="T12" fmla="*/ 58337 w 753"/>
                <a:gd name="T13" fmla="*/ 5437 h 602"/>
                <a:gd name="T14" fmla="*/ 69066 w 753"/>
                <a:gd name="T15" fmla="*/ 2719 h 602"/>
                <a:gd name="T16" fmla="*/ 79794 w 753"/>
                <a:gd name="T17" fmla="*/ 16992 h 602"/>
                <a:gd name="T18" fmla="*/ 74430 w 753"/>
                <a:gd name="T19" fmla="*/ 25828 h 602"/>
                <a:gd name="T20" fmla="*/ 111980 w 753"/>
                <a:gd name="T21" fmla="*/ 21750 h 602"/>
                <a:gd name="T22" fmla="*/ 118686 w 753"/>
                <a:gd name="T23" fmla="*/ 24468 h 602"/>
                <a:gd name="T24" fmla="*/ 126062 w 753"/>
                <a:gd name="T25" fmla="*/ 44859 h 602"/>
                <a:gd name="T26" fmla="*/ 116674 w 753"/>
                <a:gd name="T27" fmla="*/ 54374 h 602"/>
                <a:gd name="T28" fmla="*/ 118015 w 753"/>
                <a:gd name="T29" fmla="*/ 66608 h 602"/>
                <a:gd name="T30" fmla="*/ 104604 w 753"/>
                <a:gd name="T31" fmla="*/ 74085 h 602"/>
                <a:gd name="T32" fmla="*/ 113992 w 753"/>
                <a:gd name="T33" fmla="*/ 92436 h 602"/>
                <a:gd name="T34" fmla="*/ 104604 w 753"/>
                <a:gd name="T35" fmla="*/ 94475 h 602"/>
                <a:gd name="T36" fmla="*/ 103934 w 753"/>
                <a:gd name="T37" fmla="*/ 95154 h 602"/>
                <a:gd name="T38" fmla="*/ 105945 w 753"/>
                <a:gd name="T39" fmla="*/ 98553 h 602"/>
                <a:gd name="T40" fmla="*/ 100581 w 753"/>
                <a:gd name="T41" fmla="*/ 101271 h 602"/>
                <a:gd name="T42" fmla="*/ 94546 w 753"/>
                <a:gd name="T43" fmla="*/ 96514 h 602"/>
                <a:gd name="T44" fmla="*/ 89852 w 753"/>
                <a:gd name="T45" fmla="*/ 103311 h 602"/>
                <a:gd name="T46" fmla="*/ 80465 w 753"/>
                <a:gd name="T47" fmla="*/ 91076 h 602"/>
                <a:gd name="T48" fmla="*/ 56996 w 753"/>
                <a:gd name="T49" fmla="*/ 85639 h 602"/>
                <a:gd name="T50" fmla="*/ 52973 w 753"/>
                <a:gd name="T51" fmla="*/ 78842 h 602"/>
                <a:gd name="T52" fmla="*/ 42915 w 753"/>
                <a:gd name="T53" fmla="*/ 78163 h 602"/>
                <a:gd name="T54" fmla="*/ 25481 w 753"/>
                <a:gd name="T55" fmla="*/ 76803 h 602"/>
                <a:gd name="T56" fmla="*/ 20787 w 753"/>
                <a:gd name="T57" fmla="*/ 82920 h 602"/>
                <a:gd name="T58" fmla="*/ 14752 w 753"/>
                <a:gd name="T59" fmla="*/ 71366 h 602"/>
                <a:gd name="T60" fmla="*/ 8046 w 753"/>
                <a:gd name="T61" fmla="*/ 67967 h 602"/>
                <a:gd name="T62" fmla="*/ 4023 w 753"/>
                <a:gd name="T63" fmla="*/ 72045 h 602"/>
                <a:gd name="T64" fmla="*/ 671 w 753"/>
                <a:gd name="T65" fmla="*/ 59811 h 602"/>
                <a:gd name="T66" fmla="*/ 6035 w 753"/>
                <a:gd name="T67" fmla="*/ 53015 h 602"/>
                <a:gd name="T68" fmla="*/ 0 w 753"/>
                <a:gd name="T69" fmla="*/ 40780 h 602"/>
                <a:gd name="T70" fmla="*/ 671 w 753"/>
                <a:gd name="T71" fmla="*/ 38062 h 60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753"/>
                <a:gd name="T109" fmla="*/ 0 h 602"/>
                <a:gd name="T110" fmla="*/ 753 w 753"/>
                <a:gd name="T111" fmla="*/ 602 h 60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753" h="602">
                  <a:moveTo>
                    <a:pt x="6" y="224"/>
                  </a:moveTo>
                  <a:lnTo>
                    <a:pt x="63" y="180"/>
                  </a:lnTo>
                  <a:lnTo>
                    <a:pt x="161" y="174"/>
                  </a:lnTo>
                  <a:lnTo>
                    <a:pt x="215" y="113"/>
                  </a:lnTo>
                  <a:lnTo>
                    <a:pt x="229" y="40"/>
                  </a:lnTo>
                  <a:lnTo>
                    <a:pt x="330" y="0"/>
                  </a:lnTo>
                  <a:lnTo>
                    <a:pt x="351" y="29"/>
                  </a:lnTo>
                  <a:lnTo>
                    <a:pt x="415" y="15"/>
                  </a:lnTo>
                  <a:lnTo>
                    <a:pt x="476" y="100"/>
                  </a:lnTo>
                  <a:lnTo>
                    <a:pt x="444" y="149"/>
                  </a:lnTo>
                  <a:lnTo>
                    <a:pt x="668" y="125"/>
                  </a:lnTo>
                  <a:lnTo>
                    <a:pt x="708" y="144"/>
                  </a:lnTo>
                  <a:lnTo>
                    <a:pt x="753" y="261"/>
                  </a:lnTo>
                  <a:lnTo>
                    <a:pt x="699" y="316"/>
                  </a:lnTo>
                  <a:lnTo>
                    <a:pt x="705" y="389"/>
                  </a:lnTo>
                  <a:lnTo>
                    <a:pt x="624" y="432"/>
                  </a:lnTo>
                  <a:lnTo>
                    <a:pt x="682" y="541"/>
                  </a:lnTo>
                  <a:lnTo>
                    <a:pt x="626" y="554"/>
                  </a:lnTo>
                  <a:lnTo>
                    <a:pt x="622" y="556"/>
                  </a:lnTo>
                  <a:lnTo>
                    <a:pt x="634" y="576"/>
                  </a:lnTo>
                  <a:lnTo>
                    <a:pt x="603" y="593"/>
                  </a:lnTo>
                  <a:lnTo>
                    <a:pt x="566" y="564"/>
                  </a:lnTo>
                  <a:lnTo>
                    <a:pt x="536" y="602"/>
                  </a:lnTo>
                  <a:lnTo>
                    <a:pt x="480" y="533"/>
                  </a:lnTo>
                  <a:lnTo>
                    <a:pt x="340" y="501"/>
                  </a:lnTo>
                  <a:lnTo>
                    <a:pt x="317" y="462"/>
                  </a:lnTo>
                  <a:lnTo>
                    <a:pt x="257" y="458"/>
                  </a:lnTo>
                  <a:lnTo>
                    <a:pt x="154" y="449"/>
                  </a:lnTo>
                  <a:lnTo>
                    <a:pt x="125" y="485"/>
                  </a:lnTo>
                  <a:lnTo>
                    <a:pt x="90" y="418"/>
                  </a:lnTo>
                  <a:lnTo>
                    <a:pt x="50" y="397"/>
                  </a:lnTo>
                  <a:lnTo>
                    <a:pt x="25" y="422"/>
                  </a:lnTo>
                  <a:lnTo>
                    <a:pt x="6" y="349"/>
                  </a:lnTo>
                  <a:lnTo>
                    <a:pt x="37" y="309"/>
                  </a:lnTo>
                  <a:lnTo>
                    <a:pt x="0" y="240"/>
                  </a:lnTo>
                  <a:lnTo>
                    <a:pt x="6" y="224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97" name="Freeform 41"/>
            <p:cNvSpPr>
              <a:spLocks/>
            </p:cNvSpPr>
            <p:nvPr/>
          </p:nvSpPr>
          <p:spPr bwMode="gray">
            <a:xfrm>
              <a:off x="9091678" y="2488305"/>
              <a:ext cx="300037" cy="400050"/>
            </a:xfrm>
            <a:custGeom>
              <a:avLst/>
              <a:gdLst>
                <a:gd name="T0" fmla="*/ 0 w 449"/>
                <a:gd name="T1" fmla="*/ 37872 h 591"/>
                <a:gd name="T2" fmla="*/ 11389 w 449"/>
                <a:gd name="T3" fmla="*/ 52750 h 591"/>
                <a:gd name="T4" fmla="*/ 9379 w 449"/>
                <a:gd name="T5" fmla="*/ 75067 h 591"/>
                <a:gd name="T6" fmla="*/ 18088 w 449"/>
                <a:gd name="T7" fmla="*/ 84535 h 591"/>
                <a:gd name="T8" fmla="*/ 35507 w 449"/>
                <a:gd name="T9" fmla="*/ 87916 h 591"/>
                <a:gd name="T10" fmla="*/ 33497 w 449"/>
                <a:gd name="T11" fmla="*/ 95355 h 591"/>
                <a:gd name="T12" fmla="*/ 42206 w 449"/>
                <a:gd name="T13" fmla="*/ 99413 h 591"/>
                <a:gd name="T14" fmla="*/ 51585 w 449"/>
                <a:gd name="T15" fmla="*/ 91297 h 591"/>
                <a:gd name="T16" fmla="*/ 44216 w 449"/>
                <a:gd name="T17" fmla="*/ 84535 h 591"/>
                <a:gd name="T18" fmla="*/ 64984 w 449"/>
                <a:gd name="T19" fmla="*/ 81153 h 591"/>
                <a:gd name="T20" fmla="*/ 75033 w 449"/>
                <a:gd name="T21" fmla="*/ 68980 h 591"/>
                <a:gd name="T22" fmla="*/ 65654 w 449"/>
                <a:gd name="T23" fmla="*/ 61541 h 591"/>
                <a:gd name="T24" fmla="*/ 70343 w 449"/>
                <a:gd name="T25" fmla="*/ 58160 h 591"/>
                <a:gd name="T26" fmla="*/ 54935 w 449"/>
                <a:gd name="T27" fmla="*/ 58160 h 591"/>
                <a:gd name="T28" fmla="*/ 50915 w 449"/>
                <a:gd name="T29" fmla="*/ 47339 h 591"/>
                <a:gd name="T30" fmla="*/ 39526 w 449"/>
                <a:gd name="T31" fmla="*/ 42605 h 591"/>
                <a:gd name="T32" fmla="*/ 42206 w 449"/>
                <a:gd name="T33" fmla="*/ 14878 h 591"/>
                <a:gd name="T34" fmla="*/ 38186 w 449"/>
                <a:gd name="T35" fmla="*/ 13526 h 591"/>
                <a:gd name="T36" fmla="*/ 34167 w 449"/>
                <a:gd name="T37" fmla="*/ 0 h 591"/>
                <a:gd name="T38" fmla="*/ 29477 w 449"/>
                <a:gd name="T39" fmla="*/ 4734 h 591"/>
                <a:gd name="T40" fmla="*/ 14069 w 449"/>
                <a:gd name="T41" fmla="*/ 676 h 591"/>
                <a:gd name="T42" fmla="*/ 10049 w 449"/>
                <a:gd name="T43" fmla="*/ 10144 h 591"/>
                <a:gd name="T44" fmla="*/ 14739 w 449"/>
                <a:gd name="T45" fmla="*/ 16231 h 591"/>
                <a:gd name="T46" fmla="*/ 4690 w 449"/>
                <a:gd name="T47" fmla="*/ 20288 h 591"/>
                <a:gd name="T48" fmla="*/ 0 w 449"/>
                <a:gd name="T49" fmla="*/ 31109 h 591"/>
                <a:gd name="T50" fmla="*/ 4020 w 449"/>
                <a:gd name="T51" fmla="*/ 35166 h 591"/>
                <a:gd name="T52" fmla="*/ 0 w 449"/>
                <a:gd name="T53" fmla="*/ 36519 h 591"/>
                <a:gd name="T54" fmla="*/ 0 w 449"/>
                <a:gd name="T55" fmla="*/ 37872 h 59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449"/>
                <a:gd name="T85" fmla="*/ 0 h 591"/>
                <a:gd name="T86" fmla="*/ 449 w 449"/>
                <a:gd name="T87" fmla="*/ 591 h 591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449" h="591">
                  <a:moveTo>
                    <a:pt x="0" y="226"/>
                  </a:moveTo>
                  <a:lnTo>
                    <a:pt x="71" y="315"/>
                  </a:lnTo>
                  <a:lnTo>
                    <a:pt x="59" y="445"/>
                  </a:lnTo>
                  <a:lnTo>
                    <a:pt x="111" y="503"/>
                  </a:lnTo>
                  <a:lnTo>
                    <a:pt x="215" y="522"/>
                  </a:lnTo>
                  <a:lnTo>
                    <a:pt x="201" y="566"/>
                  </a:lnTo>
                  <a:lnTo>
                    <a:pt x="255" y="591"/>
                  </a:lnTo>
                  <a:lnTo>
                    <a:pt x="309" y="543"/>
                  </a:lnTo>
                  <a:lnTo>
                    <a:pt x="265" y="503"/>
                  </a:lnTo>
                  <a:lnTo>
                    <a:pt x="389" y="482"/>
                  </a:lnTo>
                  <a:lnTo>
                    <a:pt x="449" y="411"/>
                  </a:lnTo>
                  <a:lnTo>
                    <a:pt x="395" y="367"/>
                  </a:lnTo>
                  <a:lnTo>
                    <a:pt x="420" y="344"/>
                  </a:lnTo>
                  <a:lnTo>
                    <a:pt x="328" y="347"/>
                  </a:lnTo>
                  <a:lnTo>
                    <a:pt x="305" y="280"/>
                  </a:lnTo>
                  <a:lnTo>
                    <a:pt x="238" y="255"/>
                  </a:lnTo>
                  <a:lnTo>
                    <a:pt x="255" y="88"/>
                  </a:lnTo>
                  <a:lnTo>
                    <a:pt x="228" y="83"/>
                  </a:lnTo>
                  <a:lnTo>
                    <a:pt x="207" y="0"/>
                  </a:lnTo>
                  <a:lnTo>
                    <a:pt x="176" y="29"/>
                  </a:lnTo>
                  <a:lnTo>
                    <a:pt x="84" y="6"/>
                  </a:lnTo>
                  <a:lnTo>
                    <a:pt x="63" y="60"/>
                  </a:lnTo>
                  <a:lnTo>
                    <a:pt x="90" y="96"/>
                  </a:lnTo>
                  <a:lnTo>
                    <a:pt x="29" y="123"/>
                  </a:lnTo>
                  <a:lnTo>
                    <a:pt x="0" y="184"/>
                  </a:lnTo>
                  <a:lnTo>
                    <a:pt x="27" y="211"/>
                  </a:lnTo>
                  <a:lnTo>
                    <a:pt x="0" y="219"/>
                  </a:lnTo>
                  <a:lnTo>
                    <a:pt x="0" y="226"/>
                  </a:lnTo>
                  <a:close/>
                </a:path>
              </a:pathLst>
            </a:custGeom>
            <a:solidFill>
              <a:srgbClr val="99DFB9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98" name="Freeform 46"/>
            <p:cNvSpPr>
              <a:spLocks/>
            </p:cNvSpPr>
            <p:nvPr/>
          </p:nvSpPr>
          <p:spPr bwMode="gray">
            <a:xfrm>
              <a:off x="8640829" y="1504059"/>
              <a:ext cx="465137" cy="509587"/>
            </a:xfrm>
            <a:custGeom>
              <a:avLst/>
              <a:gdLst>
                <a:gd name="T0" fmla="*/ 670 w 695"/>
                <a:gd name="T1" fmla="*/ 79936 h 752"/>
                <a:gd name="T2" fmla="*/ 9387 w 695"/>
                <a:gd name="T3" fmla="*/ 97549 h 752"/>
                <a:gd name="T4" fmla="*/ 20114 w 695"/>
                <a:gd name="T5" fmla="*/ 95517 h 752"/>
                <a:gd name="T6" fmla="*/ 25478 w 695"/>
                <a:gd name="T7" fmla="*/ 102968 h 752"/>
                <a:gd name="T8" fmla="*/ 38887 w 695"/>
                <a:gd name="T9" fmla="*/ 110420 h 752"/>
                <a:gd name="T10" fmla="*/ 42239 w 695"/>
                <a:gd name="T11" fmla="*/ 104323 h 752"/>
                <a:gd name="T12" fmla="*/ 49615 w 695"/>
                <a:gd name="T13" fmla="*/ 106356 h 752"/>
                <a:gd name="T14" fmla="*/ 50955 w 695"/>
                <a:gd name="T15" fmla="*/ 98904 h 752"/>
                <a:gd name="T16" fmla="*/ 69728 w 695"/>
                <a:gd name="T17" fmla="*/ 118549 h 752"/>
                <a:gd name="T18" fmla="*/ 76433 w 695"/>
                <a:gd name="T19" fmla="*/ 119227 h 752"/>
                <a:gd name="T20" fmla="*/ 81126 w 695"/>
                <a:gd name="T21" fmla="*/ 115162 h 752"/>
                <a:gd name="T22" fmla="*/ 80456 w 695"/>
                <a:gd name="T23" fmla="*/ 121259 h 752"/>
                <a:gd name="T24" fmla="*/ 87161 w 695"/>
                <a:gd name="T25" fmla="*/ 119227 h 752"/>
                <a:gd name="T26" fmla="*/ 91183 w 695"/>
                <a:gd name="T27" fmla="*/ 127356 h 752"/>
                <a:gd name="T28" fmla="*/ 98559 w 695"/>
                <a:gd name="T29" fmla="*/ 124646 h 752"/>
                <a:gd name="T30" fmla="*/ 96547 w 695"/>
                <a:gd name="T31" fmla="*/ 117872 h 752"/>
                <a:gd name="T32" fmla="*/ 95877 w 695"/>
                <a:gd name="T33" fmla="*/ 116517 h 752"/>
                <a:gd name="T34" fmla="*/ 107945 w 695"/>
                <a:gd name="T35" fmla="*/ 84001 h 752"/>
                <a:gd name="T36" fmla="*/ 112638 w 695"/>
                <a:gd name="T37" fmla="*/ 83323 h 752"/>
                <a:gd name="T38" fmla="*/ 109286 w 695"/>
                <a:gd name="T39" fmla="*/ 78581 h 752"/>
                <a:gd name="T40" fmla="*/ 115991 w 695"/>
                <a:gd name="T41" fmla="*/ 74517 h 752"/>
                <a:gd name="T42" fmla="*/ 115320 w 695"/>
                <a:gd name="T43" fmla="*/ 63678 h 752"/>
                <a:gd name="T44" fmla="*/ 109956 w 695"/>
                <a:gd name="T45" fmla="*/ 60968 h 752"/>
                <a:gd name="T46" fmla="*/ 113309 w 695"/>
                <a:gd name="T47" fmla="*/ 54871 h 752"/>
                <a:gd name="T48" fmla="*/ 105934 w 695"/>
                <a:gd name="T49" fmla="*/ 49452 h 752"/>
                <a:gd name="T50" fmla="*/ 99229 w 695"/>
                <a:gd name="T51" fmla="*/ 54871 h 752"/>
                <a:gd name="T52" fmla="*/ 81797 w 695"/>
                <a:gd name="T53" fmla="*/ 54871 h 752"/>
                <a:gd name="T54" fmla="*/ 82467 w 695"/>
                <a:gd name="T55" fmla="*/ 47420 h 752"/>
                <a:gd name="T56" fmla="*/ 78445 w 695"/>
                <a:gd name="T57" fmla="*/ 48097 h 752"/>
                <a:gd name="T58" fmla="*/ 70399 w 695"/>
                <a:gd name="T59" fmla="*/ 26420 h 752"/>
                <a:gd name="T60" fmla="*/ 64365 w 695"/>
                <a:gd name="T61" fmla="*/ 29807 h 752"/>
                <a:gd name="T62" fmla="*/ 56990 w 695"/>
                <a:gd name="T63" fmla="*/ 23710 h 752"/>
                <a:gd name="T64" fmla="*/ 61012 w 695"/>
                <a:gd name="T65" fmla="*/ 14903 h 752"/>
                <a:gd name="T66" fmla="*/ 43580 w 695"/>
                <a:gd name="T67" fmla="*/ 0 h 752"/>
                <a:gd name="T68" fmla="*/ 16091 w 695"/>
                <a:gd name="T69" fmla="*/ 4065 h 752"/>
                <a:gd name="T70" fmla="*/ 16091 w 695"/>
                <a:gd name="T71" fmla="*/ 16258 h 752"/>
                <a:gd name="T72" fmla="*/ 7375 w 695"/>
                <a:gd name="T73" fmla="*/ 27097 h 752"/>
                <a:gd name="T74" fmla="*/ 14080 w 695"/>
                <a:gd name="T75" fmla="*/ 31162 h 752"/>
                <a:gd name="T76" fmla="*/ 21455 w 695"/>
                <a:gd name="T77" fmla="*/ 50129 h 752"/>
                <a:gd name="T78" fmla="*/ 12068 w 695"/>
                <a:gd name="T79" fmla="*/ 58936 h 752"/>
                <a:gd name="T80" fmla="*/ 13409 w 695"/>
                <a:gd name="T81" fmla="*/ 71130 h 752"/>
                <a:gd name="T82" fmla="*/ 0 w 695"/>
                <a:gd name="T83" fmla="*/ 78581 h 752"/>
                <a:gd name="T84" fmla="*/ 670 w 695"/>
                <a:gd name="T85" fmla="*/ 79936 h 75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95"/>
                <a:gd name="T130" fmla="*/ 0 h 752"/>
                <a:gd name="T131" fmla="*/ 695 w 695"/>
                <a:gd name="T132" fmla="*/ 752 h 75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95" h="752">
                  <a:moveTo>
                    <a:pt x="4" y="474"/>
                  </a:moveTo>
                  <a:lnTo>
                    <a:pt x="58" y="576"/>
                  </a:lnTo>
                  <a:lnTo>
                    <a:pt x="123" y="564"/>
                  </a:lnTo>
                  <a:lnTo>
                    <a:pt x="155" y="607"/>
                  </a:lnTo>
                  <a:lnTo>
                    <a:pt x="234" y="649"/>
                  </a:lnTo>
                  <a:lnTo>
                    <a:pt x="255" y="616"/>
                  </a:lnTo>
                  <a:lnTo>
                    <a:pt x="299" y="626"/>
                  </a:lnTo>
                  <a:lnTo>
                    <a:pt x="305" y="584"/>
                  </a:lnTo>
                  <a:lnTo>
                    <a:pt x="416" y="697"/>
                  </a:lnTo>
                  <a:lnTo>
                    <a:pt x="459" y="704"/>
                  </a:lnTo>
                  <a:lnTo>
                    <a:pt x="486" y="680"/>
                  </a:lnTo>
                  <a:lnTo>
                    <a:pt x="480" y="714"/>
                  </a:lnTo>
                  <a:lnTo>
                    <a:pt x="522" y="701"/>
                  </a:lnTo>
                  <a:lnTo>
                    <a:pt x="545" y="752"/>
                  </a:lnTo>
                  <a:lnTo>
                    <a:pt x="591" y="735"/>
                  </a:lnTo>
                  <a:lnTo>
                    <a:pt x="576" y="693"/>
                  </a:lnTo>
                  <a:lnTo>
                    <a:pt x="574" y="687"/>
                  </a:lnTo>
                  <a:lnTo>
                    <a:pt x="645" y="499"/>
                  </a:lnTo>
                  <a:lnTo>
                    <a:pt x="672" y="493"/>
                  </a:lnTo>
                  <a:lnTo>
                    <a:pt x="653" y="465"/>
                  </a:lnTo>
                  <a:lnTo>
                    <a:pt x="695" y="440"/>
                  </a:lnTo>
                  <a:lnTo>
                    <a:pt x="691" y="378"/>
                  </a:lnTo>
                  <a:lnTo>
                    <a:pt x="656" y="357"/>
                  </a:lnTo>
                  <a:lnTo>
                    <a:pt x="678" y="323"/>
                  </a:lnTo>
                  <a:lnTo>
                    <a:pt x="633" y="290"/>
                  </a:lnTo>
                  <a:lnTo>
                    <a:pt x="595" y="323"/>
                  </a:lnTo>
                  <a:lnTo>
                    <a:pt x="491" y="323"/>
                  </a:lnTo>
                  <a:lnTo>
                    <a:pt x="495" y="280"/>
                  </a:lnTo>
                  <a:lnTo>
                    <a:pt x="468" y="282"/>
                  </a:lnTo>
                  <a:lnTo>
                    <a:pt x="420" y="156"/>
                  </a:lnTo>
                  <a:lnTo>
                    <a:pt x="384" y="175"/>
                  </a:lnTo>
                  <a:lnTo>
                    <a:pt x="342" y="140"/>
                  </a:lnTo>
                  <a:lnTo>
                    <a:pt x="365" y="87"/>
                  </a:lnTo>
                  <a:lnTo>
                    <a:pt x="263" y="0"/>
                  </a:lnTo>
                  <a:lnTo>
                    <a:pt x="96" y="23"/>
                  </a:lnTo>
                  <a:lnTo>
                    <a:pt x="96" y="96"/>
                  </a:lnTo>
                  <a:lnTo>
                    <a:pt x="46" y="158"/>
                  </a:lnTo>
                  <a:lnTo>
                    <a:pt x="84" y="181"/>
                  </a:lnTo>
                  <a:lnTo>
                    <a:pt x="129" y="294"/>
                  </a:lnTo>
                  <a:lnTo>
                    <a:pt x="75" y="348"/>
                  </a:lnTo>
                  <a:lnTo>
                    <a:pt x="81" y="422"/>
                  </a:lnTo>
                  <a:lnTo>
                    <a:pt x="0" y="465"/>
                  </a:lnTo>
                  <a:lnTo>
                    <a:pt x="4" y="474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99" name="Freeform 57"/>
            <p:cNvSpPr>
              <a:spLocks/>
            </p:cNvSpPr>
            <p:nvPr/>
          </p:nvSpPr>
          <p:spPr bwMode="gray">
            <a:xfrm>
              <a:off x="8969390" y="2932805"/>
              <a:ext cx="341313" cy="520700"/>
            </a:xfrm>
            <a:custGeom>
              <a:avLst/>
              <a:gdLst>
                <a:gd name="T0" fmla="*/ 8041 w 509"/>
                <a:gd name="T1" fmla="*/ 96621 h 772"/>
                <a:gd name="T2" fmla="*/ 11392 w 509"/>
                <a:gd name="T3" fmla="*/ 106756 h 772"/>
                <a:gd name="T4" fmla="*/ 18093 w 509"/>
                <a:gd name="T5" fmla="*/ 114188 h 772"/>
                <a:gd name="T6" fmla="*/ 16083 w 509"/>
                <a:gd name="T7" fmla="*/ 122972 h 772"/>
                <a:gd name="T8" fmla="*/ 22784 w 509"/>
                <a:gd name="T9" fmla="*/ 121620 h 772"/>
                <a:gd name="T10" fmla="*/ 34176 w 509"/>
                <a:gd name="T11" fmla="*/ 129728 h 772"/>
                <a:gd name="T12" fmla="*/ 39537 w 509"/>
                <a:gd name="T13" fmla="*/ 120945 h 772"/>
                <a:gd name="T14" fmla="*/ 44227 w 509"/>
                <a:gd name="T15" fmla="*/ 120269 h 772"/>
                <a:gd name="T16" fmla="*/ 48918 w 509"/>
                <a:gd name="T17" fmla="*/ 128377 h 772"/>
                <a:gd name="T18" fmla="*/ 53609 w 509"/>
                <a:gd name="T19" fmla="*/ 120945 h 772"/>
                <a:gd name="T20" fmla="*/ 66341 w 509"/>
                <a:gd name="T21" fmla="*/ 127701 h 772"/>
                <a:gd name="T22" fmla="*/ 66341 w 509"/>
                <a:gd name="T23" fmla="*/ 127701 h 772"/>
                <a:gd name="T24" fmla="*/ 67011 w 509"/>
                <a:gd name="T25" fmla="*/ 121620 h 772"/>
                <a:gd name="T26" fmla="*/ 70362 w 509"/>
                <a:gd name="T27" fmla="*/ 95269 h 772"/>
                <a:gd name="T28" fmla="*/ 76393 w 509"/>
                <a:gd name="T29" fmla="*/ 83107 h 772"/>
                <a:gd name="T30" fmla="*/ 75053 w 509"/>
                <a:gd name="T31" fmla="*/ 69594 h 772"/>
                <a:gd name="T32" fmla="*/ 85104 w 509"/>
                <a:gd name="T33" fmla="*/ 49999 h 772"/>
                <a:gd name="T34" fmla="*/ 76393 w 509"/>
                <a:gd name="T35" fmla="*/ 7432 h 772"/>
                <a:gd name="T36" fmla="*/ 73042 w 509"/>
                <a:gd name="T37" fmla="*/ 0 h 772"/>
                <a:gd name="T38" fmla="*/ 60980 w 509"/>
                <a:gd name="T39" fmla="*/ 6081 h 772"/>
                <a:gd name="T40" fmla="*/ 59640 w 509"/>
                <a:gd name="T41" fmla="*/ 14189 h 772"/>
                <a:gd name="T42" fmla="*/ 50929 w 509"/>
                <a:gd name="T43" fmla="*/ 15540 h 772"/>
                <a:gd name="T44" fmla="*/ 48248 w 509"/>
                <a:gd name="T45" fmla="*/ 29054 h 772"/>
                <a:gd name="T46" fmla="*/ 42217 w 509"/>
                <a:gd name="T47" fmla="*/ 27027 h 772"/>
                <a:gd name="T48" fmla="*/ 42217 w 509"/>
                <a:gd name="T49" fmla="*/ 39189 h 772"/>
                <a:gd name="T50" fmla="*/ 35516 w 509"/>
                <a:gd name="T51" fmla="*/ 41216 h 772"/>
                <a:gd name="T52" fmla="*/ 36186 w 509"/>
                <a:gd name="T53" fmla="*/ 46621 h 772"/>
                <a:gd name="T54" fmla="*/ 29485 w 509"/>
                <a:gd name="T55" fmla="*/ 47972 h 772"/>
                <a:gd name="T56" fmla="*/ 24124 w 509"/>
                <a:gd name="T57" fmla="*/ 58107 h 772"/>
                <a:gd name="T58" fmla="*/ 13402 w 509"/>
                <a:gd name="T59" fmla="*/ 59459 h 772"/>
                <a:gd name="T60" fmla="*/ 0 w 509"/>
                <a:gd name="T61" fmla="*/ 73648 h 772"/>
                <a:gd name="T62" fmla="*/ 0 w 509"/>
                <a:gd name="T63" fmla="*/ 77702 h 772"/>
                <a:gd name="T64" fmla="*/ 8041 w 509"/>
                <a:gd name="T65" fmla="*/ 96621 h 77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509"/>
                <a:gd name="T100" fmla="*/ 0 h 772"/>
                <a:gd name="T101" fmla="*/ 509 w 509"/>
                <a:gd name="T102" fmla="*/ 772 h 77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509" h="772">
                  <a:moveTo>
                    <a:pt x="48" y="574"/>
                  </a:moveTo>
                  <a:lnTo>
                    <a:pt x="70" y="636"/>
                  </a:lnTo>
                  <a:lnTo>
                    <a:pt x="108" y="678"/>
                  </a:lnTo>
                  <a:lnTo>
                    <a:pt x="98" y="732"/>
                  </a:lnTo>
                  <a:lnTo>
                    <a:pt x="137" y="722"/>
                  </a:lnTo>
                  <a:lnTo>
                    <a:pt x="204" y="772"/>
                  </a:lnTo>
                  <a:lnTo>
                    <a:pt x="238" y="720"/>
                  </a:lnTo>
                  <a:lnTo>
                    <a:pt x="267" y="714"/>
                  </a:lnTo>
                  <a:lnTo>
                    <a:pt x="294" y="762"/>
                  </a:lnTo>
                  <a:lnTo>
                    <a:pt x="321" y="718"/>
                  </a:lnTo>
                  <a:lnTo>
                    <a:pt x="396" y="760"/>
                  </a:lnTo>
                  <a:lnTo>
                    <a:pt x="398" y="758"/>
                  </a:lnTo>
                  <a:lnTo>
                    <a:pt x="402" y="724"/>
                  </a:lnTo>
                  <a:lnTo>
                    <a:pt x="421" y="568"/>
                  </a:lnTo>
                  <a:lnTo>
                    <a:pt x="459" y="495"/>
                  </a:lnTo>
                  <a:lnTo>
                    <a:pt x="448" y="415"/>
                  </a:lnTo>
                  <a:lnTo>
                    <a:pt x="509" y="296"/>
                  </a:lnTo>
                  <a:lnTo>
                    <a:pt x="459" y="46"/>
                  </a:lnTo>
                  <a:lnTo>
                    <a:pt x="436" y="0"/>
                  </a:lnTo>
                  <a:lnTo>
                    <a:pt x="367" y="37"/>
                  </a:lnTo>
                  <a:lnTo>
                    <a:pt x="356" y="85"/>
                  </a:lnTo>
                  <a:lnTo>
                    <a:pt x="306" y="94"/>
                  </a:lnTo>
                  <a:lnTo>
                    <a:pt x="290" y="175"/>
                  </a:lnTo>
                  <a:lnTo>
                    <a:pt x="252" y="160"/>
                  </a:lnTo>
                  <a:lnTo>
                    <a:pt x="254" y="233"/>
                  </a:lnTo>
                  <a:lnTo>
                    <a:pt x="212" y="244"/>
                  </a:lnTo>
                  <a:lnTo>
                    <a:pt x="219" y="279"/>
                  </a:lnTo>
                  <a:lnTo>
                    <a:pt x="179" y="284"/>
                  </a:lnTo>
                  <a:lnTo>
                    <a:pt x="144" y="346"/>
                  </a:lnTo>
                  <a:lnTo>
                    <a:pt x="83" y="352"/>
                  </a:lnTo>
                  <a:lnTo>
                    <a:pt x="0" y="438"/>
                  </a:lnTo>
                  <a:lnTo>
                    <a:pt x="0" y="463"/>
                  </a:lnTo>
                  <a:lnTo>
                    <a:pt x="48" y="574"/>
                  </a:lnTo>
                  <a:close/>
                </a:path>
              </a:pathLst>
            </a:custGeom>
            <a:solidFill>
              <a:srgbClr val="92D050"/>
            </a:solidFill>
            <a:ln w="9525">
              <a:solidFill>
                <a:srgbClr val="92D050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00" name="Freeform 60"/>
            <p:cNvSpPr>
              <a:spLocks/>
            </p:cNvSpPr>
            <p:nvPr/>
          </p:nvSpPr>
          <p:spPr bwMode="gray">
            <a:xfrm>
              <a:off x="8296283" y="3137592"/>
              <a:ext cx="534988" cy="588963"/>
            </a:xfrm>
            <a:custGeom>
              <a:avLst/>
              <a:gdLst>
                <a:gd name="T0" fmla="*/ 1341 w 799"/>
                <a:gd name="T1" fmla="*/ 69855 h 869"/>
                <a:gd name="T2" fmla="*/ 671 w 799"/>
                <a:gd name="T3" fmla="*/ 75959 h 869"/>
                <a:gd name="T4" fmla="*/ 8718 w 799"/>
                <a:gd name="T5" fmla="*/ 77315 h 869"/>
                <a:gd name="T6" fmla="*/ 2012 w 799"/>
                <a:gd name="T7" fmla="*/ 85454 h 869"/>
                <a:gd name="T8" fmla="*/ 10729 w 799"/>
                <a:gd name="T9" fmla="*/ 92236 h 869"/>
                <a:gd name="T10" fmla="*/ 24141 w 799"/>
                <a:gd name="T11" fmla="*/ 86810 h 869"/>
                <a:gd name="T12" fmla="*/ 30847 w 799"/>
                <a:gd name="T13" fmla="*/ 92236 h 869"/>
                <a:gd name="T14" fmla="*/ 26824 w 799"/>
                <a:gd name="T15" fmla="*/ 94270 h 869"/>
                <a:gd name="T16" fmla="*/ 38894 w 799"/>
                <a:gd name="T17" fmla="*/ 95627 h 869"/>
                <a:gd name="T18" fmla="*/ 52977 w 799"/>
                <a:gd name="T19" fmla="*/ 109191 h 869"/>
                <a:gd name="T20" fmla="*/ 63706 w 799"/>
                <a:gd name="T21" fmla="*/ 136997 h 869"/>
                <a:gd name="T22" fmla="*/ 73765 w 799"/>
                <a:gd name="T23" fmla="*/ 143779 h 869"/>
                <a:gd name="T24" fmla="*/ 87177 w 799"/>
                <a:gd name="T25" fmla="*/ 141744 h 869"/>
                <a:gd name="T26" fmla="*/ 89859 w 799"/>
                <a:gd name="T27" fmla="*/ 147848 h 869"/>
                <a:gd name="T28" fmla="*/ 100589 w 799"/>
                <a:gd name="T29" fmla="*/ 147848 h 869"/>
                <a:gd name="T30" fmla="*/ 101259 w 799"/>
                <a:gd name="T31" fmla="*/ 130893 h 869"/>
                <a:gd name="T32" fmla="*/ 114671 w 799"/>
                <a:gd name="T33" fmla="*/ 132928 h 869"/>
                <a:gd name="T34" fmla="*/ 118024 w 799"/>
                <a:gd name="T35" fmla="*/ 124111 h 869"/>
                <a:gd name="T36" fmla="*/ 126742 w 799"/>
                <a:gd name="T37" fmla="*/ 121398 h 869"/>
                <a:gd name="T38" fmla="*/ 133448 w 799"/>
                <a:gd name="T39" fmla="*/ 109191 h 869"/>
                <a:gd name="T40" fmla="*/ 118695 w 799"/>
                <a:gd name="T41" fmla="*/ 101730 h 869"/>
                <a:gd name="T42" fmla="*/ 126742 w 799"/>
                <a:gd name="T43" fmla="*/ 90879 h 869"/>
                <a:gd name="T44" fmla="*/ 112659 w 799"/>
                <a:gd name="T45" fmla="*/ 88166 h 869"/>
                <a:gd name="T46" fmla="*/ 114671 w 799"/>
                <a:gd name="T47" fmla="*/ 84097 h 869"/>
                <a:gd name="T48" fmla="*/ 105283 w 799"/>
                <a:gd name="T49" fmla="*/ 80706 h 869"/>
                <a:gd name="T50" fmla="*/ 107295 w 799"/>
                <a:gd name="T51" fmla="*/ 59682 h 869"/>
                <a:gd name="T52" fmla="*/ 93883 w 799"/>
                <a:gd name="T53" fmla="*/ 35267 h 869"/>
                <a:gd name="T54" fmla="*/ 90530 w 799"/>
                <a:gd name="T55" fmla="*/ 18990 h 869"/>
                <a:gd name="T56" fmla="*/ 84495 w 799"/>
                <a:gd name="T57" fmla="*/ 8817 h 869"/>
                <a:gd name="T58" fmla="*/ 76447 w 799"/>
                <a:gd name="T59" fmla="*/ 8817 h 869"/>
                <a:gd name="T60" fmla="*/ 74436 w 799"/>
                <a:gd name="T61" fmla="*/ 0 h 869"/>
                <a:gd name="T62" fmla="*/ 63036 w 799"/>
                <a:gd name="T63" fmla="*/ 10851 h 869"/>
                <a:gd name="T64" fmla="*/ 52306 w 799"/>
                <a:gd name="T65" fmla="*/ 33910 h 869"/>
                <a:gd name="T66" fmla="*/ 39565 w 799"/>
                <a:gd name="T67" fmla="*/ 31197 h 869"/>
                <a:gd name="T68" fmla="*/ 30177 w 799"/>
                <a:gd name="T69" fmla="*/ 36623 h 869"/>
                <a:gd name="T70" fmla="*/ 0 w 799"/>
                <a:gd name="T71" fmla="*/ 52900 h 869"/>
                <a:gd name="T72" fmla="*/ 1341 w 799"/>
                <a:gd name="T73" fmla="*/ 69855 h 86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799"/>
                <a:gd name="T112" fmla="*/ 0 h 869"/>
                <a:gd name="T113" fmla="*/ 799 w 799"/>
                <a:gd name="T114" fmla="*/ 869 h 869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799" h="869">
                  <a:moveTo>
                    <a:pt x="10" y="412"/>
                  </a:moveTo>
                  <a:lnTo>
                    <a:pt x="4" y="445"/>
                  </a:lnTo>
                  <a:lnTo>
                    <a:pt x="54" y="456"/>
                  </a:lnTo>
                  <a:lnTo>
                    <a:pt x="14" y="502"/>
                  </a:lnTo>
                  <a:lnTo>
                    <a:pt x="66" y="543"/>
                  </a:lnTo>
                  <a:lnTo>
                    <a:pt x="144" y="512"/>
                  </a:lnTo>
                  <a:lnTo>
                    <a:pt x="185" y="543"/>
                  </a:lnTo>
                  <a:lnTo>
                    <a:pt x="162" y="556"/>
                  </a:lnTo>
                  <a:lnTo>
                    <a:pt x="235" y="564"/>
                  </a:lnTo>
                  <a:lnTo>
                    <a:pt x="317" y="642"/>
                  </a:lnTo>
                  <a:lnTo>
                    <a:pt x="381" y="806"/>
                  </a:lnTo>
                  <a:lnTo>
                    <a:pt x="440" y="846"/>
                  </a:lnTo>
                  <a:lnTo>
                    <a:pt x="521" y="834"/>
                  </a:lnTo>
                  <a:lnTo>
                    <a:pt x="538" y="869"/>
                  </a:lnTo>
                  <a:lnTo>
                    <a:pt x="601" y="869"/>
                  </a:lnTo>
                  <a:lnTo>
                    <a:pt x="605" y="771"/>
                  </a:lnTo>
                  <a:lnTo>
                    <a:pt x="684" y="784"/>
                  </a:lnTo>
                  <a:lnTo>
                    <a:pt x="705" y="731"/>
                  </a:lnTo>
                  <a:lnTo>
                    <a:pt x="759" y="715"/>
                  </a:lnTo>
                  <a:lnTo>
                    <a:pt x="799" y="642"/>
                  </a:lnTo>
                  <a:lnTo>
                    <a:pt x="709" y="600"/>
                  </a:lnTo>
                  <a:lnTo>
                    <a:pt x="759" y="535"/>
                  </a:lnTo>
                  <a:lnTo>
                    <a:pt x="674" y="520"/>
                  </a:lnTo>
                  <a:lnTo>
                    <a:pt x="684" y="495"/>
                  </a:lnTo>
                  <a:lnTo>
                    <a:pt x="630" y="474"/>
                  </a:lnTo>
                  <a:lnTo>
                    <a:pt x="642" y="351"/>
                  </a:lnTo>
                  <a:lnTo>
                    <a:pt x="563" y="205"/>
                  </a:lnTo>
                  <a:lnTo>
                    <a:pt x="540" y="111"/>
                  </a:lnTo>
                  <a:lnTo>
                    <a:pt x="507" y="51"/>
                  </a:lnTo>
                  <a:lnTo>
                    <a:pt x="459" y="51"/>
                  </a:lnTo>
                  <a:lnTo>
                    <a:pt x="444" y="0"/>
                  </a:lnTo>
                  <a:lnTo>
                    <a:pt x="379" y="63"/>
                  </a:lnTo>
                  <a:lnTo>
                    <a:pt x="315" y="199"/>
                  </a:lnTo>
                  <a:lnTo>
                    <a:pt x="237" y="184"/>
                  </a:lnTo>
                  <a:lnTo>
                    <a:pt x="183" y="216"/>
                  </a:lnTo>
                  <a:lnTo>
                    <a:pt x="0" y="309"/>
                  </a:lnTo>
                  <a:lnTo>
                    <a:pt x="10" y="412"/>
                  </a:lnTo>
                  <a:close/>
                </a:path>
              </a:pathLst>
            </a:custGeom>
            <a:solidFill>
              <a:srgbClr val="92D050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01" name="Freeform 63"/>
            <p:cNvSpPr>
              <a:spLocks/>
            </p:cNvSpPr>
            <p:nvPr/>
          </p:nvSpPr>
          <p:spPr bwMode="gray">
            <a:xfrm>
              <a:off x="8369314" y="2883698"/>
              <a:ext cx="431800" cy="403225"/>
            </a:xfrm>
            <a:custGeom>
              <a:avLst/>
              <a:gdLst>
                <a:gd name="T0" fmla="*/ 672 w 641"/>
                <a:gd name="T1" fmla="*/ 61071 h 593"/>
                <a:gd name="T2" fmla="*/ 8742 w 641"/>
                <a:gd name="T3" fmla="*/ 80749 h 593"/>
                <a:gd name="T4" fmla="*/ 4707 w 641"/>
                <a:gd name="T5" fmla="*/ 90928 h 593"/>
                <a:gd name="T6" fmla="*/ 11432 w 641"/>
                <a:gd name="T7" fmla="*/ 101106 h 593"/>
                <a:gd name="T8" fmla="*/ 21519 w 641"/>
                <a:gd name="T9" fmla="*/ 94999 h 593"/>
                <a:gd name="T10" fmla="*/ 34297 w 641"/>
                <a:gd name="T11" fmla="*/ 97035 h 593"/>
                <a:gd name="T12" fmla="*/ 45056 w 641"/>
                <a:gd name="T13" fmla="*/ 74642 h 593"/>
                <a:gd name="T14" fmla="*/ 55143 w 641"/>
                <a:gd name="T15" fmla="*/ 64464 h 593"/>
                <a:gd name="T16" fmla="*/ 59178 w 641"/>
                <a:gd name="T17" fmla="*/ 72606 h 593"/>
                <a:gd name="T18" fmla="*/ 67248 w 641"/>
                <a:gd name="T19" fmla="*/ 72606 h 593"/>
                <a:gd name="T20" fmla="*/ 71955 w 641"/>
                <a:gd name="T21" fmla="*/ 82785 h 593"/>
                <a:gd name="T22" fmla="*/ 75990 w 641"/>
                <a:gd name="T23" fmla="*/ 98392 h 593"/>
                <a:gd name="T24" fmla="*/ 77335 w 641"/>
                <a:gd name="T25" fmla="*/ 96356 h 593"/>
                <a:gd name="T26" fmla="*/ 86078 w 641"/>
                <a:gd name="T27" fmla="*/ 70571 h 593"/>
                <a:gd name="T28" fmla="*/ 93475 w 641"/>
                <a:gd name="T29" fmla="*/ 72606 h 593"/>
                <a:gd name="T30" fmla="*/ 97510 w 641"/>
                <a:gd name="T31" fmla="*/ 63785 h 593"/>
                <a:gd name="T32" fmla="*/ 108269 w 641"/>
                <a:gd name="T33" fmla="*/ 60392 h 593"/>
                <a:gd name="T34" fmla="*/ 101545 w 641"/>
                <a:gd name="T35" fmla="*/ 44107 h 593"/>
                <a:gd name="T36" fmla="*/ 106924 w 641"/>
                <a:gd name="T37" fmla="*/ 44785 h 593"/>
                <a:gd name="T38" fmla="*/ 96165 w 641"/>
                <a:gd name="T39" fmla="*/ 24428 h 593"/>
                <a:gd name="T40" fmla="*/ 84733 w 641"/>
                <a:gd name="T41" fmla="*/ 22393 h 593"/>
                <a:gd name="T42" fmla="*/ 86750 w 641"/>
                <a:gd name="T43" fmla="*/ 15607 h 593"/>
                <a:gd name="T44" fmla="*/ 78680 w 641"/>
                <a:gd name="T45" fmla="*/ 22393 h 593"/>
                <a:gd name="T46" fmla="*/ 68593 w 641"/>
                <a:gd name="T47" fmla="*/ 10857 h 593"/>
                <a:gd name="T48" fmla="*/ 53798 w 641"/>
                <a:gd name="T49" fmla="*/ 10857 h 593"/>
                <a:gd name="T50" fmla="*/ 53126 w 641"/>
                <a:gd name="T51" fmla="*/ 4750 h 593"/>
                <a:gd name="T52" fmla="*/ 39004 w 641"/>
                <a:gd name="T53" fmla="*/ 0 h 593"/>
                <a:gd name="T54" fmla="*/ 39004 w 641"/>
                <a:gd name="T55" fmla="*/ 10857 h 593"/>
                <a:gd name="T56" fmla="*/ 24209 w 641"/>
                <a:gd name="T57" fmla="*/ 7464 h 593"/>
                <a:gd name="T58" fmla="*/ 24209 w 641"/>
                <a:gd name="T59" fmla="*/ 15607 h 593"/>
                <a:gd name="T60" fmla="*/ 11432 w 641"/>
                <a:gd name="T61" fmla="*/ 29178 h 593"/>
                <a:gd name="T62" fmla="*/ 14122 w 641"/>
                <a:gd name="T63" fmla="*/ 35285 h 593"/>
                <a:gd name="T64" fmla="*/ 9415 w 641"/>
                <a:gd name="T65" fmla="*/ 45464 h 593"/>
                <a:gd name="T66" fmla="*/ 2690 w 641"/>
                <a:gd name="T67" fmla="*/ 48857 h 593"/>
                <a:gd name="T68" fmla="*/ 5380 w 641"/>
                <a:gd name="T69" fmla="*/ 57678 h 593"/>
                <a:gd name="T70" fmla="*/ 0 w 641"/>
                <a:gd name="T71" fmla="*/ 58357 h 593"/>
                <a:gd name="T72" fmla="*/ 672 w 641"/>
                <a:gd name="T73" fmla="*/ 61071 h 59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41"/>
                <a:gd name="T112" fmla="*/ 0 h 593"/>
                <a:gd name="T113" fmla="*/ 641 w 641"/>
                <a:gd name="T114" fmla="*/ 593 h 59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41" h="593">
                  <a:moveTo>
                    <a:pt x="2" y="359"/>
                  </a:moveTo>
                  <a:lnTo>
                    <a:pt x="50" y="474"/>
                  </a:lnTo>
                  <a:lnTo>
                    <a:pt x="27" y="536"/>
                  </a:lnTo>
                  <a:lnTo>
                    <a:pt x="67" y="593"/>
                  </a:lnTo>
                  <a:lnTo>
                    <a:pt x="125" y="559"/>
                  </a:lnTo>
                  <a:lnTo>
                    <a:pt x="203" y="572"/>
                  </a:lnTo>
                  <a:lnTo>
                    <a:pt x="265" y="438"/>
                  </a:lnTo>
                  <a:lnTo>
                    <a:pt x="328" y="378"/>
                  </a:lnTo>
                  <a:lnTo>
                    <a:pt x="351" y="426"/>
                  </a:lnTo>
                  <a:lnTo>
                    <a:pt x="399" y="426"/>
                  </a:lnTo>
                  <a:lnTo>
                    <a:pt x="428" y="486"/>
                  </a:lnTo>
                  <a:lnTo>
                    <a:pt x="451" y="580"/>
                  </a:lnTo>
                  <a:lnTo>
                    <a:pt x="457" y="568"/>
                  </a:lnTo>
                  <a:lnTo>
                    <a:pt x="512" y="413"/>
                  </a:lnTo>
                  <a:lnTo>
                    <a:pt x="553" y="426"/>
                  </a:lnTo>
                  <a:lnTo>
                    <a:pt x="578" y="375"/>
                  </a:lnTo>
                  <a:lnTo>
                    <a:pt x="641" y="353"/>
                  </a:lnTo>
                  <a:lnTo>
                    <a:pt x="604" y="257"/>
                  </a:lnTo>
                  <a:lnTo>
                    <a:pt x="635" y="261"/>
                  </a:lnTo>
                  <a:lnTo>
                    <a:pt x="572" y="142"/>
                  </a:lnTo>
                  <a:lnTo>
                    <a:pt x="503" y="129"/>
                  </a:lnTo>
                  <a:lnTo>
                    <a:pt x="514" y="89"/>
                  </a:lnTo>
                  <a:lnTo>
                    <a:pt x="466" y="129"/>
                  </a:lnTo>
                  <a:lnTo>
                    <a:pt x="405" y="64"/>
                  </a:lnTo>
                  <a:lnTo>
                    <a:pt x="320" y="62"/>
                  </a:lnTo>
                  <a:lnTo>
                    <a:pt x="315" y="27"/>
                  </a:lnTo>
                  <a:lnTo>
                    <a:pt x="230" y="0"/>
                  </a:lnTo>
                  <a:lnTo>
                    <a:pt x="230" y="64"/>
                  </a:lnTo>
                  <a:lnTo>
                    <a:pt x="144" y="41"/>
                  </a:lnTo>
                  <a:lnTo>
                    <a:pt x="144" y="91"/>
                  </a:lnTo>
                  <a:lnTo>
                    <a:pt x="67" y="171"/>
                  </a:lnTo>
                  <a:lnTo>
                    <a:pt x="82" y="208"/>
                  </a:lnTo>
                  <a:lnTo>
                    <a:pt x="54" y="267"/>
                  </a:lnTo>
                  <a:lnTo>
                    <a:pt x="15" y="288"/>
                  </a:lnTo>
                  <a:lnTo>
                    <a:pt x="32" y="338"/>
                  </a:lnTo>
                  <a:lnTo>
                    <a:pt x="0" y="344"/>
                  </a:lnTo>
                  <a:lnTo>
                    <a:pt x="2" y="359"/>
                  </a:lnTo>
                  <a:close/>
                </a:path>
              </a:pathLst>
            </a:custGeom>
            <a:solidFill>
              <a:srgbClr val="99DFB9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02" name="Freeform 64"/>
            <p:cNvSpPr>
              <a:spLocks/>
            </p:cNvSpPr>
            <p:nvPr/>
          </p:nvSpPr>
          <p:spPr bwMode="gray">
            <a:xfrm>
              <a:off x="8096258" y="2743892"/>
              <a:ext cx="430213" cy="395288"/>
            </a:xfrm>
            <a:custGeom>
              <a:avLst/>
              <a:gdLst>
                <a:gd name="T0" fmla="*/ 672 w 639"/>
                <a:gd name="T1" fmla="*/ 64921 h 583"/>
                <a:gd name="T2" fmla="*/ 14795 w 639"/>
                <a:gd name="T3" fmla="*/ 74389 h 583"/>
                <a:gd name="T4" fmla="*/ 12105 w 639"/>
                <a:gd name="T5" fmla="*/ 76417 h 583"/>
                <a:gd name="T6" fmla="*/ 18157 w 639"/>
                <a:gd name="T7" fmla="*/ 86561 h 583"/>
                <a:gd name="T8" fmla="*/ 32952 w 639"/>
                <a:gd name="T9" fmla="*/ 85209 h 583"/>
                <a:gd name="T10" fmla="*/ 44384 w 639"/>
                <a:gd name="T11" fmla="*/ 98058 h 583"/>
                <a:gd name="T12" fmla="*/ 69266 w 639"/>
                <a:gd name="T13" fmla="*/ 92648 h 583"/>
                <a:gd name="T14" fmla="*/ 74646 w 639"/>
                <a:gd name="T15" fmla="*/ 92648 h 583"/>
                <a:gd name="T16" fmla="*/ 71283 w 639"/>
                <a:gd name="T17" fmla="*/ 83180 h 583"/>
                <a:gd name="T18" fmla="*/ 77336 w 639"/>
                <a:gd name="T19" fmla="*/ 80475 h 583"/>
                <a:gd name="T20" fmla="*/ 82715 w 639"/>
                <a:gd name="T21" fmla="*/ 69655 h 583"/>
                <a:gd name="T22" fmla="*/ 80698 w 639"/>
                <a:gd name="T23" fmla="*/ 63569 h 583"/>
                <a:gd name="T24" fmla="*/ 93475 w 639"/>
                <a:gd name="T25" fmla="*/ 50043 h 583"/>
                <a:gd name="T26" fmla="*/ 93475 w 639"/>
                <a:gd name="T27" fmla="*/ 41928 h 583"/>
                <a:gd name="T28" fmla="*/ 107597 w 639"/>
                <a:gd name="T29" fmla="*/ 45309 h 583"/>
                <a:gd name="T30" fmla="*/ 107597 w 639"/>
                <a:gd name="T31" fmla="*/ 34489 h 583"/>
                <a:gd name="T32" fmla="*/ 105580 w 639"/>
                <a:gd name="T33" fmla="*/ 2705 h 583"/>
                <a:gd name="T34" fmla="*/ 86750 w 639"/>
                <a:gd name="T35" fmla="*/ 12173 h 583"/>
                <a:gd name="T36" fmla="*/ 69266 w 639"/>
                <a:gd name="T37" fmla="*/ 0 h 583"/>
                <a:gd name="T38" fmla="*/ 56489 w 639"/>
                <a:gd name="T39" fmla="*/ 6763 h 583"/>
                <a:gd name="T40" fmla="*/ 3362 w 639"/>
                <a:gd name="T41" fmla="*/ 35166 h 583"/>
                <a:gd name="T42" fmla="*/ 8742 w 639"/>
                <a:gd name="T43" fmla="*/ 42604 h 583"/>
                <a:gd name="T44" fmla="*/ 1345 w 639"/>
                <a:gd name="T45" fmla="*/ 50043 h 583"/>
                <a:gd name="T46" fmla="*/ 4707 w 639"/>
                <a:gd name="T47" fmla="*/ 59511 h 583"/>
                <a:gd name="T48" fmla="*/ 0 w 639"/>
                <a:gd name="T49" fmla="*/ 62892 h 583"/>
                <a:gd name="T50" fmla="*/ 672 w 639"/>
                <a:gd name="T51" fmla="*/ 64921 h 58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39"/>
                <a:gd name="T79" fmla="*/ 0 h 583"/>
                <a:gd name="T80" fmla="*/ 639 w 639"/>
                <a:gd name="T81" fmla="*/ 583 h 583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39" h="583">
                  <a:moveTo>
                    <a:pt x="4" y="386"/>
                  </a:moveTo>
                  <a:lnTo>
                    <a:pt x="88" y="441"/>
                  </a:lnTo>
                  <a:lnTo>
                    <a:pt x="71" y="455"/>
                  </a:lnTo>
                  <a:lnTo>
                    <a:pt x="106" y="512"/>
                  </a:lnTo>
                  <a:lnTo>
                    <a:pt x="194" y="507"/>
                  </a:lnTo>
                  <a:lnTo>
                    <a:pt x="263" y="583"/>
                  </a:lnTo>
                  <a:lnTo>
                    <a:pt x="411" y="549"/>
                  </a:lnTo>
                  <a:lnTo>
                    <a:pt x="443" y="549"/>
                  </a:lnTo>
                  <a:lnTo>
                    <a:pt x="424" y="493"/>
                  </a:lnTo>
                  <a:lnTo>
                    <a:pt x="459" y="476"/>
                  </a:lnTo>
                  <a:lnTo>
                    <a:pt x="491" y="415"/>
                  </a:lnTo>
                  <a:lnTo>
                    <a:pt x="478" y="378"/>
                  </a:lnTo>
                  <a:lnTo>
                    <a:pt x="555" y="298"/>
                  </a:lnTo>
                  <a:lnTo>
                    <a:pt x="555" y="248"/>
                  </a:lnTo>
                  <a:lnTo>
                    <a:pt x="637" y="269"/>
                  </a:lnTo>
                  <a:lnTo>
                    <a:pt x="639" y="207"/>
                  </a:lnTo>
                  <a:lnTo>
                    <a:pt x="628" y="19"/>
                  </a:lnTo>
                  <a:lnTo>
                    <a:pt x="516" y="73"/>
                  </a:lnTo>
                  <a:lnTo>
                    <a:pt x="411" y="0"/>
                  </a:lnTo>
                  <a:lnTo>
                    <a:pt x="334" y="40"/>
                  </a:lnTo>
                  <a:lnTo>
                    <a:pt x="19" y="211"/>
                  </a:lnTo>
                  <a:lnTo>
                    <a:pt x="52" y="255"/>
                  </a:lnTo>
                  <a:lnTo>
                    <a:pt x="8" y="299"/>
                  </a:lnTo>
                  <a:lnTo>
                    <a:pt x="25" y="355"/>
                  </a:lnTo>
                  <a:lnTo>
                    <a:pt x="0" y="374"/>
                  </a:lnTo>
                  <a:lnTo>
                    <a:pt x="4" y="386"/>
                  </a:lnTo>
                  <a:close/>
                </a:path>
              </a:pathLst>
            </a:custGeom>
            <a:solidFill>
              <a:srgbClr val="99DFB9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03" name="Freeform 68"/>
            <p:cNvSpPr>
              <a:spLocks/>
            </p:cNvSpPr>
            <p:nvPr/>
          </p:nvSpPr>
          <p:spPr bwMode="gray">
            <a:xfrm>
              <a:off x="8769358" y="3361430"/>
              <a:ext cx="533400" cy="476250"/>
            </a:xfrm>
            <a:custGeom>
              <a:avLst/>
              <a:gdLst>
                <a:gd name="T0" fmla="*/ 0 w 795"/>
                <a:gd name="T1" fmla="*/ 45517 h 700"/>
                <a:gd name="T2" fmla="*/ 8718 w 795"/>
                <a:gd name="T3" fmla="*/ 34647 h 700"/>
                <a:gd name="T4" fmla="*/ 23471 w 795"/>
                <a:gd name="T5" fmla="*/ 42120 h 700"/>
                <a:gd name="T6" fmla="*/ 30847 w 795"/>
                <a:gd name="T7" fmla="*/ 40762 h 700"/>
                <a:gd name="T8" fmla="*/ 33529 w 795"/>
                <a:gd name="T9" fmla="*/ 32609 h 700"/>
                <a:gd name="T10" fmla="*/ 42918 w 795"/>
                <a:gd name="T11" fmla="*/ 39403 h 700"/>
                <a:gd name="T12" fmla="*/ 59012 w 795"/>
                <a:gd name="T13" fmla="*/ 36006 h 700"/>
                <a:gd name="T14" fmla="*/ 57000 w 795"/>
                <a:gd name="T15" fmla="*/ 14946 h 700"/>
                <a:gd name="T16" fmla="*/ 52306 w 795"/>
                <a:gd name="T17" fmla="*/ 9511 h 700"/>
                <a:gd name="T18" fmla="*/ 61023 w 795"/>
                <a:gd name="T19" fmla="*/ 0 h 700"/>
                <a:gd name="T20" fmla="*/ 67059 w 795"/>
                <a:gd name="T21" fmla="*/ 6794 h 700"/>
                <a:gd name="T22" fmla="*/ 65718 w 795"/>
                <a:gd name="T23" fmla="*/ 17663 h 700"/>
                <a:gd name="T24" fmla="*/ 72423 w 795"/>
                <a:gd name="T25" fmla="*/ 14946 h 700"/>
                <a:gd name="T26" fmla="*/ 83153 w 795"/>
                <a:gd name="T27" fmla="*/ 23098 h 700"/>
                <a:gd name="T28" fmla="*/ 89188 w 795"/>
                <a:gd name="T29" fmla="*/ 14267 h 700"/>
                <a:gd name="T30" fmla="*/ 93882 w 795"/>
                <a:gd name="T31" fmla="*/ 12908 h 700"/>
                <a:gd name="T32" fmla="*/ 97906 w 795"/>
                <a:gd name="T33" fmla="*/ 20381 h 700"/>
                <a:gd name="T34" fmla="*/ 103941 w 795"/>
                <a:gd name="T35" fmla="*/ 13587 h 700"/>
                <a:gd name="T36" fmla="*/ 116012 w 795"/>
                <a:gd name="T37" fmla="*/ 21060 h 700"/>
                <a:gd name="T38" fmla="*/ 122718 w 795"/>
                <a:gd name="T39" fmla="*/ 31250 h 700"/>
                <a:gd name="T40" fmla="*/ 121376 w 795"/>
                <a:gd name="T41" fmla="*/ 40762 h 700"/>
                <a:gd name="T42" fmla="*/ 132776 w 795"/>
                <a:gd name="T43" fmla="*/ 52311 h 700"/>
                <a:gd name="T44" fmla="*/ 124729 w 795"/>
                <a:gd name="T45" fmla="*/ 63180 h 700"/>
                <a:gd name="T46" fmla="*/ 116682 w 795"/>
                <a:gd name="T47" fmla="*/ 69974 h 700"/>
                <a:gd name="T48" fmla="*/ 115341 w 795"/>
                <a:gd name="T49" fmla="*/ 91034 h 700"/>
                <a:gd name="T50" fmla="*/ 103270 w 795"/>
                <a:gd name="T51" fmla="*/ 90355 h 700"/>
                <a:gd name="T52" fmla="*/ 98576 w 795"/>
                <a:gd name="T53" fmla="*/ 99186 h 700"/>
                <a:gd name="T54" fmla="*/ 101259 w 795"/>
                <a:gd name="T55" fmla="*/ 102583 h 700"/>
                <a:gd name="T56" fmla="*/ 91870 w 795"/>
                <a:gd name="T57" fmla="*/ 109377 h 700"/>
                <a:gd name="T58" fmla="*/ 82482 w 795"/>
                <a:gd name="T59" fmla="*/ 115491 h 700"/>
                <a:gd name="T60" fmla="*/ 81812 w 795"/>
                <a:gd name="T61" fmla="*/ 119567 h 700"/>
                <a:gd name="T62" fmla="*/ 73094 w 795"/>
                <a:gd name="T63" fmla="*/ 115491 h 700"/>
                <a:gd name="T64" fmla="*/ 71082 w 795"/>
                <a:gd name="T65" fmla="*/ 107339 h 700"/>
                <a:gd name="T66" fmla="*/ 70412 w 795"/>
                <a:gd name="T67" fmla="*/ 104621 h 700"/>
                <a:gd name="T68" fmla="*/ 70412 w 795"/>
                <a:gd name="T69" fmla="*/ 103942 h 700"/>
                <a:gd name="T70" fmla="*/ 79129 w 795"/>
                <a:gd name="T71" fmla="*/ 97148 h 700"/>
                <a:gd name="T72" fmla="*/ 74435 w 795"/>
                <a:gd name="T73" fmla="*/ 86958 h 700"/>
                <a:gd name="T74" fmla="*/ 59012 w 795"/>
                <a:gd name="T75" fmla="*/ 78806 h 700"/>
                <a:gd name="T76" fmla="*/ 54988 w 795"/>
                <a:gd name="T77" fmla="*/ 69295 h 700"/>
                <a:gd name="T78" fmla="*/ 44259 w 795"/>
                <a:gd name="T79" fmla="*/ 68615 h 700"/>
                <a:gd name="T80" fmla="*/ 43588 w 795"/>
                <a:gd name="T81" fmla="*/ 59784 h 700"/>
                <a:gd name="T82" fmla="*/ 35541 w 795"/>
                <a:gd name="T83" fmla="*/ 60463 h 700"/>
                <a:gd name="T84" fmla="*/ 26153 w 795"/>
                <a:gd name="T85" fmla="*/ 73371 h 700"/>
                <a:gd name="T86" fmla="*/ 8718 w 795"/>
                <a:gd name="T87" fmla="*/ 65218 h 700"/>
                <a:gd name="T88" fmla="*/ 15424 w 795"/>
                <a:gd name="T89" fmla="*/ 52990 h 700"/>
                <a:gd name="T90" fmla="*/ 0 w 795"/>
                <a:gd name="T91" fmla="*/ 45517 h 70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95"/>
                <a:gd name="T139" fmla="*/ 0 h 700"/>
                <a:gd name="T140" fmla="*/ 795 w 795"/>
                <a:gd name="T141" fmla="*/ 700 h 70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95" h="700">
                  <a:moveTo>
                    <a:pt x="0" y="268"/>
                  </a:moveTo>
                  <a:lnTo>
                    <a:pt x="54" y="203"/>
                  </a:lnTo>
                  <a:lnTo>
                    <a:pt x="142" y="245"/>
                  </a:lnTo>
                  <a:lnTo>
                    <a:pt x="184" y="239"/>
                  </a:lnTo>
                  <a:lnTo>
                    <a:pt x="203" y="191"/>
                  </a:lnTo>
                  <a:lnTo>
                    <a:pt x="257" y="232"/>
                  </a:lnTo>
                  <a:lnTo>
                    <a:pt x="353" y="211"/>
                  </a:lnTo>
                  <a:lnTo>
                    <a:pt x="342" y="86"/>
                  </a:lnTo>
                  <a:lnTo>
                    <a:pt x="315" y="55"/>
                  </a:lnTo>
                  <a:lnTo>
                    <a:pt x="365" y="0"/>
                  </a:lnTo>
                  <a:lnTo>
                    <a:pt x="403" y="40"/>
                  </a:lnTo>
                  <a:lnTo>
                    <a:pt x="395" y="101"/>
                  </a:lnTo>
                  <a:lnTo>
                    <a:pt x="432" y="86"/>
                  </a:lnTo>
                  <a:lnTo>
                    <a:pt x="499" y="136"/>
                  </a:lnTo>
                  <a:lnTo>
                    <a:pt x="534" y="84"/>
                  </a:lnTo>
                  <a:lnTo>
                    <a:pt x="560" y="76"/>
                  </a:lnTo>
                  <a:lnTo>
                    <a:pt x="587" y="120"/>
                  </a:lnTo>
                  <a:lnTo>
                    <a:pt x="622" y="80"/>
                  </a:lnTo>
                  <a:lnTo>
                    <a:pt x="693" y="124"/>
                  </a:lnTo>
                  <a:lnTo>
                    <a:pt x="733" y="184"/>
                  </a:lnTo>
                  <a:lnTo>
                    <a:pt x="724" y="239"/>
                  </a:lnTo>
                  <a:lnTo>
                    <a:pt x="795" y="305"/>
                  </a:lnTo>
                  <a:lnTo>
                    <a:pt x="745" y="370"/>
                  </a:lnTo>
                  <a:lnTo>
                    <a:pt x="697" y="408"/>
                  </a:lnTo>
                  <a:lnTo>
                    <a:pt x="689" y="535"/>
                  </a:lnTo>
                  <a:lnTo>
                    <a:pt x="618" y="531"/>
                  </a:lnTo>
                  <a:lnTo>
                    <a:pt x="591" y="581"/>
                  </a:lnTo>
                  <a:lnTo>
                    <a:pt x="606" y="602"/>
                  </a:lnTo>
                  <a:lnTo>
                    <a:pt x="549" y="642"/>
                  </a:lnTo>
                  <a:lnTo>
                    <a:pt x="495" y="679"/>
                  </a:lnTo>
                  <a:lnTo>
                    <a:pt x="491" y="700"/>
                  </a:lnTo>
                  <a:lnTo>
                    <a:pt x="439" y="679"/>
                  </a:lnTo>
                  <a:lnTo>
                    <a:pt x="424" y="631"/>
                  </a:lnTo>
                  <a:lnTo>
                    <a:pt x="420" y="614"/>
                  </a:lnTo>
                  <a:lnTo>
                    <a:pt x="420" y="608"/>
                  </a:lnTo>
                  <a:lnTo>
                    <a:pt x="474" y="570"/>
                  </a:lnTo>
                  <a:lnTo>
                    <a:pt x="447" y="510"/>
                  </a:lnTo>
                  <a:lnTo>
                    <a:pt x="353" y="462"/>
                  </a:lnTo>
                  <a:lnTo>
                    <a:pt x="330" y="405"/>
                  </a:lnTo>
                  <a:lnTo>
                    <a:pt x="267" y="401"/>
                  </a:lnTo>
                  <a:lnTo>
                    <a:pt x="263" y="349"/>
                  </a:lnTo>
                  <a:lnTo>
                    <a:pt x="213" y="355"/>
                  </a:lnTo>
                  <a:lnTo>
                    <a:pt x="159" y="429"/>
                  </a:lnTo>
                  <a:lnTo>
                    <a:pt x="52" y="383"/>
                  </a:lnTo>
                  <a:lnTo>
                    <a:pt x="94" y="312"/>
                  </a:lnTo>
                  <a:lnTo>
                    <a:pt x="0" y="268"/>
                  </a:lnTo>
                  <a:close/>
                </a:path>
              </a:pathLst>
            </a:custGeom>
            <a:solidFill>
              <a:srgbClr val="92D050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04" name="Freeform 71"/>
            <p:cNvSpPr>
              <a:spLocks/>
            </p:cNvSpPr>
            <p:nvPr/>
          </p:nvSpPr>
          <p:spPr bwMode="gray">
            <a:xfrm>
              <a:off x="8709033" y="2907511"/>
              <a:ext cx="465138" cy="320675"/>
            </a:xfrm>
            <a:custGeom>
              <a:avLst/>
              <a:gdLst>
                <a:gd name="T0" fmla="*/ 0 w 695"/>
                <a:gd name="T1" fmla="*/ 14226 h 474"/>
                <a:gd name="T2" fmla="*/ 1341 w 695"/>
                <a:gd name="T3" fmla="*/ 8806 h 474"/>
                <a:gd name="T4" fmla="*/ 22125 w 695"/>
                <a:gd name="T5" fmla="*/ 0 h 474"/>
                <a:gd name="T6" fmla="*/ 33523 w 695"/>
                <a:gd name="T7" fmla="*/ 0 h 474"/>
                <a:gd name="T8" fmla="*/ 43580 w 695"/>
                <a:gd name="T9" fmla="*/ 10161 h 474"/>
                <a:gd name="T10" fmla="*/ 48944 w 695"/>
                <a:gd name="T11" fmla="*/ 4742 h 474"/>
                <a:gd name="T12" fmla="*/ 67047 w 695"/>
                <a:gd name="T13" fmla="*/ 8129 h 474"/>
                <a:gd name="T14" fmla="*/ 81126 w 695"/>
                <a:gd name="T15" fmla="*/ 10161 h 474"/>
                <a:gd name="T16" fmla="*/ 89172 w 695"/>
                <a:gd name="T17" fmla="*/ 4065 h 474"/>
                <a:gd name="T18" fmla="*/ 103922 w 695"/>
                <a:gd name="T19" fmla="*/ 6097 h 474"/>
                <a:gd name="T20" fmla="*/ 103922 w 695"/>
                <a:gd name="T21" fmla="*/ 17613 h 474"/>
                <a:gd name="T22" fmla="*/ 115991 w 695"/>
                <a:gd name="T23" fmla="*/ 22355 h 474"/>
                <a:gd name="T24" fmla="*/ 112638 w 695"/>
                <a:gd name="T25" fmla="*/ 35903 h 474"/>
                <a:gd name="T26" fmla="*/ 106604 w 695"/>
                <a:gd name="T27" fmla="*/ 33194 h 474"/>
                <a:gd name="T28" fmla="*/ 107275 w 695"/>
                <a:gd name="T29" fmla="*/ 46065 h 474"/>
                <a:gd name="T30" fmla="*/ 99899 w 695"/>
                <a:gd name="T31" fmla="*/ 47420 h 474"/>
                <a:gd name="T32" fmla="*/ 100570 w 695"/>
                <a:gd name="T33" fmla="*/ 53516 h 474"/>
                <a:gd name="T34" fmla="*/ 94536 w 695"/>
                <a:gd name="T35" fmla="*/ 54194 h 474"/>
                <a:gd name="T36" fmla="*/ 88502 w 695"/>
                <a:gd name="T37" fmla="*/ 65033 h 474"/>
                <a:gd name="T38" fmla="*/ 78445 w 695"/>
                <a:gd name="T39" fmla="*/ 65710 h 474"/>
                <a:gd name="T40" fmla="*/ 64365 w 695"/>
                <a:gd name="T41" fmla="*/ 80613 h 474"/>
                <a:gd name="T42" fmla="*/ 46262 w 695"/>
                <a:gd name="T43" fmla="*/ 64355 h 474"/>
                <a:gd name="T44" fmla="*/ 32182 w 695"/>
                <a:gd name="T45" fmla="*/ 73162 h 474"/>
                <a:gd name="T46" fmla="*/ 22796 w 695"/>
                <a:gd name="T47" fmla="*/ 54194 h 474"/>
                <a:gd name="T48" fmla="*/ 16762 w 695"/>
                <a:gd name="T49" fmla="*/ 38613 h 474"/>
                <a:gd name="T50" fmla="*/ 22125 w 695"/>
                <a:gd name="T51" fmla="*/ 37936 h 474"/>
                <a:gd name="T52" fmla="*/ 10727 w 695"/>
                <a:gd name="T53" fmla="*/ 18290 h 474"/>
                <a:gd name="T54" fmla="*/ 0 w 695"/>
                <a:gd name="T55" fmla="*/ 16258 h 474"/>
                <a:gd name="T56" fmla="*/ 0 w 695"/>
                <a:gd name="T57" fmla="*/ 14226 h 47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695"/>
                <a:gd name="T88" fmla="*/ 0 h 474"/>
                <a:gd name="T89" fmla="*/ 695 w 695"/>
                <a:gd name="T90" fmla="*/ 474 h 47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695" h="474">
                  <a:moveTo>
                    <a:pt x="2" y="84"/>
                  </a:moveTo>
                  <a:lnTo>
                    <a:pt x="11" y="52"/>
                  </a:lnTo>
                  <a:lnTo>
                    <a:pt x="134" y="0"/>
                  </a:lnTo>
                  <a:lnTo>
                    <a:pt x="203" y="0"/>
                  </a:lnTo>
                  <a:lnTo>
                    <a:pt x="263" y="59"/>
                  </a:lnTo>
                  <a:lnTo>
                    <a:pt x="295" y="29"/>
                  </a:lnTo>
                  <a:lnTo>
                    <a:pt x="401" y="48"/>
                  </a:lnTo>
                  <a:lnTo>
                    <a:pt x="485" y="59"/>
                  </a:lnTo>
                  <a:lnTo>
                    <a:pt x="535" y="21"/>
                  </a:lnTo>
                  <a:lnTo>
                    <a:pt x="622" y="36"/>
                  </a:lnTo>
                  <a:lnTo>
                    <a:pt x="622" y="102"/>
                  </a:lnTo>
                  <a:lnTo>
                    <a:pt x="695" y="132"/>
                  </a:lnTo>
                  <a:lnTo>
                    <a:pt x="675" y="211"/>
                  </a:lnTo>
                  <a:lnTo>
                    <a:pt x="637" y="196"/>
                  </a:lnTo>
                  <a:lnTo>
                    <a:pt x="641" y="269"/>
                  </a:lnTo>
                  <a:lnTo>
                    <a:pt x="599" y="280"/>
                  </a:lnTo>
                  <a:lnTo>
                    <a:pt x="602" y="315"/>
                  </a:lnTo>
                  <a:lnTo>
                    <a:pt x="566" y="320"/>
                  </a:lnTo>
                  <a:lnTo>
                    <a:pt x="531" y="382"/>
                  </a:lnTo>
                  <a:lnTo>
                    <a:pt x="470" y="388"/>
                  </a:lnTo>
                  <a:lnTo>
                    <a:pt x="387" y="474"/>
                  </a:lnTo>
                  <a:lnTo>
                    <a:pt x="278" y="380"/>
                  </a:lnTo>
                  <a:lnTo>
                    <a:pt x="195" y="432"/>
                  </a:lnTo>
                  <a:lnTo>
                    <a:pt x="138" y="318"/>
                  </a:lnTo>
                  <a:lnTo>
                    <a:pt x="101" y="226"/>
                  </a:lnTo>
                  <a:lnTo>
                    <a:pt x="132" y="224"/>
                  </a:lnTo>
                  <a:lnTo>
                    <a:pt x="67" y="107"/>
                  </a:lnTo>
                  <a:lnTo>
                    <a:pt x="0" y="94"/>
                  </a:lnTo>
                  <a:lnTo>
                    <a:pt x="2" y="84"/>
                  </a:lnTo>
                  <a:close/>
                </a:path>
              </a:pathLst>
            </a:custGeom>
            <a:solidFill>
              <a:srgbClr val="92D050"/>
            </a:solidFill>
            <a:ln w="9525">
              <a:solidFill>
                <a:srgbClr val="92D050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05" name="Freeform 72"/>
            <p:cNvSpPr>
              <a:spLocks/>
            </p:cNvSpPr>
            <p:nvPr/>
          </p:nvSpPr>
          <p:spPr bwMode="gray">
            <a:xfrm>
              <a:off x="8004183" y="3086792"/>
              <a:ext cx="412750" cy="387350"/>
            </a:xfrm>
            <a:custGeom>
              <a:avLst/>
              <a:gdLst>
                <a:gd name="T0" fmla="*/ 671 w 614"/>
                <a:gd name="T1" fmla="*/ 55549 h 572"/>
                <a:gd name="T2" fmla="*/ 8057 w 614"/>
                <a:gd name="T3" fmla="*/ 52162 h 572"/>
                <a:gd name="T4" fmla="*/ 39615 w 614"/>
                <a:gd name="T5" fmla="*/ 17613 h 572"/>
                <a:gd name="T6" fmla="*/ 40286 w 614"/>
                <a:gd name="T7" fmla="*/ 677 h 572"/>
                <a:gd name="T8" fmla="*/ 55058 w 614"/>
                <a:gd name="T9" fmla="*/ 0 h 572"/>
                <a:gd name="T10" fmla="*/ 66472 w 614"/>
                <a:gd name="T11" fmla="*/ 12871 h 572"/>
                <a:gd name="T12" fmla="*/ 91986 w 614"/>
                <a:gd name="T13" fmla="*/ 6774 h 572"/>
                <a:gd name="T14" fmla="*/ 91986 w 614"/>
                <a:gd name="T15" fmla="*/ 10161 h 572"/>
                <a:gd name="T16" fmla="*/ 100044 w 614"/>
                <a:gd name="T17" fmla="*/ 29129 h 572"/>
                <a:gd name="T18" fmla="*/ 96015 w 614"/>
                <a:gd name="T19" fmla="*/ 40645 h 572"/>
                <a:gd name="T20" fmla="*/ 103401 w 614"/>
                <a:gd name="T21" fmla="*/ 49452 h 572"/>
                <a:gd name="T22" fmla="*/ 73186 w 614"/>
                <a:gd name="T23" fmla="*/ 64355 h 572"/>
                <a:gd name="T24" fmla="*/ 72515 w 614"/>
                <a:gd name="T25" fmla="*/ 67065 h 572"/>
                <a:gd name="T26" fmla="*/ 74529 w 614"/>
                <a:gd name="T27" fmla="*/ 81968 h 572"/>
                <a:gd name="T28" fmla="*/ 54386 w 614"/>
                <a:gd name="T29" fmla="*/ 90097 h 572"/>
                <a:gd name="T30" fmla="*/ 49686 w 614"/>
                <a:gd name="T31" fmla="*/ 86033 h 572"/>
                <a:gd name="T32" fmla="*/ 47000 w 614"/>
                <a:gd name="T33" fmla="*/ 94839 h 572"/>
                <a:gd name="T34" fmla="*/ 40286 w 614"/>
                <a:gd name="T35" fmla="*/ 88065 h 572"/>
                <a:gd name="T36" fmla="*/ 30214 w 614"/>
                <a:gd name="T37" fmla="*/ 96872 h 572"/>
                <a:gd name="T38" fmla="*/ 24843 w 614"/>
                <a:gd name="T39" fmla="*/ 93484 h 572"/>
                <a:gd name="T40" fmla="*/ 25514 w 614"/>
                <a:gd name="T41" fmla="*/ 86710 h 572"/>
                <a:gd name="T42" fmla="*/ 17457 w 614"/>
                <a:gd name="T43" fmla="*/ 88742 h 572"/>
                <a:gd name="T44" fmla="*/ 7386 w 614"/>
                <a:gd name="T45" fmla="*/ 79936 h 572"/>
                <a:gd name="T46" fmla="*/ 12086 w 614"/>
                <a:gd name="T47" fmla="*/ 74517 h 572"/>
                <a:gd name="T48" fmla="*/ 6714 w 614"/>
                <a:gd name="T49" fmla="*/ 75871 h 572"/>
                <a:gd name="T50" fmla="*/ 0 w 614"/>
                <a:gd name="T51" fmla="*/ 56226 h 572"/>
                <a:gd name="T52" fmla="*/ 671 w 614"/>
                <a:gd name="T53" fmla="*/ 55549 h 57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14"/>
                <a:gd name="T82" fmla="*/ 0 h 572"/>
                <a:gd name="T83" fmla="*/ 614 w 614"/>
                <a:gd name="T84" fmla="*/ 572 h 572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14" h="572">
                  <a:moveTo>
                    <a:pt x="4" y="328"/>
                  </a:moveTo>
                  <a:lnTo>
                    <a:pt x="48" y="311"/>
                  </a:lnTo>
                  <a:lnTo>
                    <a:pt x="236" y="105"/>
                  </a:lnTo>
                  <a:lnTo>
                    <a:pt x="242" y="5"/>
                  </a:lnTo>
                  <a:lnTo>
                    <a:pt x="330" y="0"/>
                  </a:lnTo>
                  <a:lnTo>
                    <a:pt x="399" y="76"/>
                  </a:lnTo>
                  <a:lnTo>
                    <a:pt x="547" y="42"/>
                  </a:lnTo>
                  <a:lnTo>
                    <a:pt x="547" y="63"/>
                  </a:lnTo>
                  <a:lnTo>
                    <a:pt x="595" y="172"/>
                  </a:lnTo>
                  <a:lnTo>
                    <a:pt x="572" y="240"/>
                  </a:lnTo>
                  <a:lnTo>
                    <a:pt x="614" y="293"/>
                  </a:lnTo>
                  <a:lnTo>
                    <a:pt x="439" y="382"/>
                  </a:lnTo>
                  <a:lnTo>
                    <a:pt x="433" y="399"/>
                  </a:lnTo>
                  <a:lnTo>
                    <a:pt x="445" y="487"/>
                  </a:lnTo>
                  <a:lnTo>
                    <a:pt x="324" y="531"/>
                  </a:lnTo>
                  <a:lnTo>
                    <a:pt x="293" y="508"/>
                  </a:lnTo>
                  <a:lnTo>
                    <a:pt x="278" y="558"/>
                  </a:lnTo>
                  <a:lnTo>
                    <a:pt x="243" y="520"/>
                  </a:lnTo>
                  <a:lnTo>
                    <a:pt x="182" y="572"/>
                  </a:lnTo>
                  <a:lnTo>
                    <a:pt x="146" y="549"/>
                  </a:lnTo>
                  <a:lnTo>
                    <a:pt x="149" y="512"/>
                  </a:lnTo>
                  <a:lnTo>
                    <a:pt x="107" y="524"/>
                  </a:lnTo>
                  <a:lnTo>
                    <a:pt x="46" y="472"/>
                  </a:lnTo>
                  <a:lnTo>
                    <a:pt x="71" y="441"/>
                  </a:lnTo>
                  <a:lnTo>
                    <a:pt x="38" y="449"/>
                  </a:lnTo>
                  <a:lnTo>
                    <a:pt x="0" y="332"/>
                  </a:lnTo>
                  <a:lnTo>
                    <a:pt x="4" y="328"/>
                  </a:lnTo>
                  <a:close/>
                </a:path>
              </a:pathLst>
            </a:custGeom>
            <a:solidFill>
              <a:srgbClr val="92D050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06" name="Freeform 73"/>
            <p:cNvSpPr>
              <a:spLocks/>
            </p:cNvSpPr>
            <p:nvPr/>
          </p:nvSpPr>
          <p:spPr bwMode="gray">
            <a:xfrm>
              <a:off x="8674108" y="3123305"/>
              <a:ext cx="341313" cy="404812"/>
            </a:xfrm>
            <a:custGeom>
              <a:avLst/>
              <a:gdLst>
                <a:gd name="T0" fmla="*/ 670 w 509"/>
                <a:gd name="T1" fmla="*/ 36520 h 599"/>
                <a:gd name="T2" fmla="*/ 9382 w 509"/>
                <a:gd name="T3" fmla="*/ 10144 h 599"/>
                <a:gd name="T4" fmla="*/ 16753 w 509"/>
                <a:gd name="T5" fmla="*/ 12173 h 599"/>
                <a:gd name="T6" fmla="*/ 20773 w 509"/>
                <a:gd name="T7" fmla="*/ 3381 h 599"/>
                <a:gd name="T8" fmla="*/ 31495 w 509"/>
                <a:gd name="T9" fmla="*/ 0 h 599"/>
                <a:gd name="T10" fmla="*/ 40877 w 509"/>
                <a:gd name="T11" fmla="*/ 18936 h 599"/>
                <a:gd name="T12" fmla="*/ 54949 w 509"/>
                <a:gd name="T13" fmla="*/ 10144 h 599"/>
                <a:gd name="T14" fmla="*/ 73042 w 509"/>
                <a:gd name="T15" fmla="*/ 26375 h 599"/>
                <a:gd name="T16" fmla="*/ 73712 w 509"/>
                <a:gd name="T17" fmla="*/ 31109 h 599"/>
                <a:gd name="T18" fmla="*/ 81084 w 509"/>
                <a:gd name="T19" fmla="*/ 48017 h 599"/>
                <a:gd name="T20" fmla="*/ 85104 w 509"/>
                <a:gd name="T21" fmla="*/ 60190 h 599"/>
                <a:gd name="T22" fmla="*/ 75723 w 509"/>
                <a:gd name="T23" fmla="*/ 68982 h 599"/>
                <a:gd name="T24" fmla="*/ 81084 w 509"/>
                <a:gd name="T25" fmla="*/ 74392 h 599"/>
                <a:gd name="T26" fmla="*/ 82424 w 509"/>
                <a:gd name="T27" fmla="*/ 95357 h 599"/>
                <a:gd name="T28" fmla="*/ 67011 w 509"/>
                <a:gd name="T29" fmla="*/ 98739 h 599"/>
                <a:gd name="T30" fmla="*/ 57630 w 509"/>
                <a:gd name="T31" fmla="*/ 92652 h 599"/>
                <a:gd name="T32" fmla="*/ 54279 w 509"/>
                <a:gd name="T33" fmla="*/ 100091 h 599"/>
                <a:gd name="T34" fmla="*/ 46908 w 509"/>
                <a:gd name="T35" fmla="*/ 100768 h 599"/>
                <a:gd name="T36" fmla="*/ 32835 w 509"/>
                <a:gd name="T37" fmla="*/ 94005 h 599"/>
                <a:gd name="T38" fmla="*/ 18093 w 509"/>
                <a:gd name="T39" fmla="*/ 91976 h 599"/>
                <a:gd name="T40" fmla="*/ 19433 w 509"/>
                <a:gd name="T41" fmla="*/ 87242 h 599"/>
                <a:gd name="T42" fmla="*/ 10722 w 509"/>
                <a:gd name="T43" fmla="*/ 83860 h 599"/>
                <a:gd name="T44" fmla="*/ 12732 w 509"/>
                <a:gd name="T45" fmla="*/ 62895 h 599"/>
                <a:gd name="T46" fmla="*/ 0 w 509"/>
                <a:gd name="T47" fmla="*/ 37872 h 599"/>
                <a:gd name="T48" fmla="*/ 670 w 509"/>
                <a:gd name="T49" fmla="*/ 36520 h 59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09"/>
                <a:gd name="T76" fmla="*/ 0 h 599"/>
                <a:gd name="T77" fmla="*/ 509 w 509"/>
                <a:gd name="T78" fmla="*/ 599 h 59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09" h="599">
                  <a:moveTo>
                    <a:pt x="4" y="217"/>
                  </a:moveTo>
                  <a:lnTo>
                    <a:pt x="59" y="60"/>
                  </a:lnTo>
                  <a:lnTo>
                    <a:pt x="102" y="73"/>
                  </a:lnTo>
                  <a:lnTo>
                    <a:pt x="127" y="22"/>
                  </a:lnTo>
                  <a:lnTo>
                    <a:pt x="190" y="0"/>
                  </a:lnTo>
                  <a:lnTo>
                    <a:pt x="246" y="114"/>
                  </a:lnTo>
                  <a:lnTo>
                    <a:pt x="330" y="62"/>
                  </a:lnTo>
                  <a:lnTo>
                    <a:pt x="439" y="156"/>
                  </a:lnTo>
                  <a:lnTo>
                    <a:pt x="441" y="187"/>
                  </a:lnTo>
                  <a:lnTo>
                    <a:pt x="484" y="286"/>
                  </a:lnTo>
                  <a:lnTo>
                    <a:pt x="509" y="357"/>
                  </a:lnTo>
                  <a:lnTo>
                    <a:pt x="453" y="409"/>
                  </a:lnTo>
                  <a:lnTo>
                    <a:pt x="484" y="442"/>
                  </a:lnTo>
                  <a:lnTo>
                    <a:pt x="495" y="565"/>
                  </a:lnTo>
                  <a:lnTo>
                    <a:pt x="403" y="586"/>
                  </a:lnTo>
                  <a:lnTo>
                    <a:pt x="345" y="549"/>
                  </a:lnTo>
                  <a:lnTo>
                    <a:pt x="324" y="593"/>
                  </a:lnTo>
                  <a:lnTo>
                    <a:pt x="282" y="599"/>
                  </a:lnTo>
                  <a:lnTo>
                    <a:pt x="196" y="557"/>
                  </a:lnTo>
                  <a:lnTo>
                    <a:pt x="109" y="544"/>
                  </a:lnTo>
                  <a:lnTo>
                    <a:pt x="119" y="517"/>
                  </a:lnTo>
                  <a:lnTo>
                    <a:pt x="67" y="496"/>
                  </a:lnTo>
                  <a:lnTo>
                    <a:pt x="79" y="373"/>
                  </a:lnTo>
                  <a:lnTo>
                    <a:pt x="0" y="227"/>
                  </a:lnTo>
                  <a:lnTo>
                    <a:pt x="4" y="217"/>
                  </a:lnTo>
                  <a:close/>
                </a:path>
              </a:pathLst>
            </a:custGeom>
            <a:solidFill>
              <a:srgbClr val="92D050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07" name="Freeform 75"/>
            <p:cNvSpPr>
              <a:spLocks/>
            </p:cNvSpPr>
            <p:nvPr/>
          </p:nvSpPr>
          <p:spPr bwMode="gray">
            <a:xfrm>
              <a:off x="7916873" y="3386830"/>
              <a:ext cx="419101" cy="292100"/>
            </a:xfrm>
            <a:custGeom>
              <a:avLst/>
              <a:gdLst>
                <a:gd name="T0" fmla="*/ 0 w 624"/>
                <a:gd name="T1" fmla="*/ 34389 h 434"/>
                <a:gd name="T2" fmla="*/ 4685 w 624"/>
                <a:gd name="T3" fmla="*/ 27646 h 434"/>
                <a:gd name="T4" fmla="*/ 12047 w 624"/>
                <a:gd name="T5" fmla="*/ 29669 h 434"/>
                <a:gd name="T6" fmla="*/ 10039 w 624"/>
                <a:gd name="T7" fmla="*/ 24275 h 434"/>
                <a:gd name="T8" fmla="*/ 18071 w 624"/>
                <a:gd name="T9" fmla="*/ 12812 h 434"/>
                <a:gd name="T10" fmla="*/ 12047 w 624"/>
                <a:gd name="T11" fmla="*/ 8092 h 434"/>
                <a:gd name="T12" fmla="*/ 13386 w 624"/>
                <a:gd name="T13" fmla="*/ 1349 h 434"/>
                <a:gd name="T14" fmla="*/ 28110 w 624"/>
                <a:gd name="T15" fmla="*/ 1349 h 434"/>
                <a:gd name="T16" fmla="*/ 33464 w 624"/>
                <a:gd name="T17" fmla="*/ 0 h 434"/>
                <a:gd name="T18" fmla="*/ 29448 w 624"/>
                <a:gd name="T19" fmla="*/ 4720 h 434"/>
                <a:gd name="T20" fmla="*/ 40157 w 624"/>
                <a:gd name="T21" fmla="*/ 13486 h 434"/>
                <a:gd name="T22" fmla="*/ 46850 w 624"/>
                <a:gd name="T23" fmla="*/ 11463 h 434"/>
                <a:gd name="T24" fmla="*/ 46180 w 624"/>
                <a:gd name="T25" fmla="*/ 18206 h 434"/>
                <a:gd name="T26" fmla="*/ 52204 w 624"/>
                <a:gd name="T27" fmla="*/ 21578 h 434"/>
                <a:gd name="T28" fmla="*/ 61574 w 624"/>
                <a:gd name="T29" fmla="*/ 12812 h 434"/>
                <a:gd name="T30" fmla="*/ 67597 w 624"/>
                <a:gd name="T31" fmla="*/ 19555 h 434"/>
                <a:gd name="T32" fmla="*/ 70944 w 624"/>
                <a:gd name="T33" fmla="*/ 10789 h 434"/>
                <a:gd name="T34" fmla="*/ 75629 w 624"/>
                <a:gd name="T35" fmla="*/ 14835 h 434"/>
                <a:gd name="T36" fmla="*/ 96376 w 624"/>
                <a:gd name="T37" fmla="*/ 7417 h 434"/>
                <a:gd name="T38" fmla="*/ 95038 w 624"/>
                <a:gd name="T39" fmla="*/ 12812 h 434"/>
                <a:gd name="T40" fmla="*/ 103069 w 624"/>
                <a:gd name="T41" fmla="*/ 14835 h 434"/>
                <a:gd name="T42" fmla="*/ 96376 w 624"/>
                <a:gd name="T43" fmla="*/ 22252 h 434"/>
                <a:gd name="T44" fmla="*/ 103738 w 624"/>
                <a:gd name="T45" fmla="*/ 28321 h 434"/>
                <a:gd name="T46" fmla="*/ 98384 w 624"/>
                <a:gd name="T47" fmla="*/ 28321 h 434"/>
                <a:gd name="T48" fmla="*/ 87006 w 624"/>
                <a:gd name="T49" fmla="*/ 35738 h 434"/>
                <a:gd name="T50" fmla="*/ 76967 w 624"/>
                <a:gd name="T51" fmla="*/ 33715 h 434"/>
                <a:gd name="T52" fmla="*/ 80983 w 624"/>
                <a:gd name="T53" fmla="*/ 41132 h 434"/>
                <a:gd name="T54" fmla="*/ 73621 w 624"/>
                <a:gd name="T55" fmla="*/ 51247 h 434"/>
                <a:gd name="T56" fmla="*/ 66259 w 624"/>
                <a:gd name="T57" fmla="*/ 51921 h 434"/>
                <a:gd name="T58" fmla="*/ 66928 w 624"/>
                <a:gd name="T59" fmla="*/ 53270 h 434"/>
                <a:gd name="T60" fmla="*/ 68267 w 624"/>
                <a:gd name="T61" fmla="*/ 56641 h 434"/>
                <a:gd name="T62" fmla="*/ 51535 w 624"/>
                <a:gd name="T63" fmla="*/ 59339 h 434"/>
                <a:gd name="T64" fmla="*/ 46180 w 624"/>
                <a:gd name="T65" fmla="*/ 64059 h 434"/>
                <a:gd name="T66" fmla="*/ 51535 w 624"/>
                <a:gd name="T67" fmla="*/ 67430 h 434"/>
                <a:gd name="T68" fmla="*/ 39488 w 624"/>
                <a:gd name="T69" fmla="*/ 72825 h 434"/>
                <a:gd name="T70" fmla="*/ 33464 w 624"/>
                <a:gd name="T71" fmla="*/ 66756 h 434"/>
                <a:gd name="T72" fmla="*/ 16063 w 624"/>
                <a:gd name="T73" fmla="*/ 70127 h 434"/>
                <a:gd name="T74" fmla="*/ 12047 w 624"/>
                <a:gd name="T75" fmla="*/ 70127 h 434"/>
                <a:gd name="T76" fmla="*/ 11378 w 624"/>
                <a:gd name="T77" fmla="*/ 55293 h 434"/>
                <a:gd name="T78" fmla="*/ 669 w 624"/>
                <a:gd name="T79" fmla="*/ 51247 h 434"/>
                <a:gd name="T80" fmla="*/ 10708 w 624"/>
                <a:gd name="T81" fmla="*/ 39784 h 434"/>
                <a:gd name="T82" fmla="*/ 0 w 624"/>
                <a:gd name="T83" fmla="*/ 36412 h 434"/>
                <a:gd name="T84" fmla="*/ 0 w 624"/>
                <a:gd name="T85" fmla="*/ 34389 h 43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24"/>
                <a:gd name="T130" fmla="*/ 0 h 434"/>
                <a:gd name="T131" fmla="*/ 624 w 624"/>
                <a:gd name="T132" fmla="*/ 434 h 43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24" h="434">
                  <a:moveTo>
                    <a:pt x="2" y="204"/>
                  </a:moveTo>
                  <a:lnTo>
                    <a:pt x="29" y="167"/>
                  </a:lnTo>
                  <a:lnTo>
                    <a:pt x="73" y="177"/>
                  </a:lnTo>
                  <a:lnTo>
                    <a:pt x="60" y="144"/>
                  </a:lnTo>
                  <a:lnTo>
                    <a:pt x="110" y="79"/>
                  </a:lnTo>
                  <a:lnTo>
                    <a:pt x="73" y="48"/>
                  </a:lnTo>
                  <a:lnTo>
                    <a:pt x="83" y="8"/>
                  </a:lnTo>
                  <a:lnTo>
                    <a:pt x="169" y="8"/>
                  </a:lnTo>
                  <a:lnTo>
                    <a:pt x="202" y="0"/>
                  </a:lnTo>
                  <a:lnTo>
                    <a:pt x="177" y="31"/>
                  </a:lnTo>
                  <a:lnTo>
                    <a:pt x="240" y="83"/>
                  </a:lnTo>
                  <a:lnTo>
                    <a:pt x="282" y="69"/>
                  </a:lnTo>
                  <a:lnTo>
                    <a:pt x="278" y="110"/>
                  </a:lnTo>
                  <a:lnTo>
                    <a:pt x="315" y="131"/>
                  </a:lnTo>
                  <a:lnTo>
                    <a:pt x="371" y="79"/>
                  </a:lnTo>
                  <a:lnTo>
                    <a:pt x="407" y="117"/>
                  </a:lnTo>
                  <a:lnTo>
                    <a:pt x="426" y="67"/>
                  </a:lnTo>
                  <a:lnTo>
                    <a:pt x="455" y="88"/>
                  </a:lnTo>
                  <a:lnTo>
                    <a:pt x="578" y="46"/>
                  </a:lnTo>
                  <a:lnTo>
                    <a:pt x="572" y="79"/>
                  </a:lnTo>
                  <a:lnTo>
                    <a:pt x="620" y="90"/>
                  </a:lnTo>
                  <a:lnTo>
                    <a:pt x="578" y="134"/>
                  </a:lnTo>
                  <a:lnTo>
                    <a:pt x="624" y="171"/>
                  </a:lnTo>
                  <a:lnTo>
                    <a:pt x="591" y="169"/>
                  </a:lnTo>
                  <a:lnTo>
                    <a:pt x="524" y="215"/>
                  </a:lnTo>
                  <a:lnTo>
                    <a:pt x="463" y="200"/>
                  </a:lnTo>
                  <a:lnTo>
                    <a:pt x="486" y="246"/>
                  </a:lnTo>
                  <a:lnTo>
                    <a:pt x="444" y="307"/>
                  </a:lnTo>
                  <a:lnTo>
                    <a:pt x="399" y="309"/>
                  </a:lnTo>
                  <a:lnTo>
                    <a:pt x="401" y="317"/>
                  </a:lnTo>
                  <a:lnTo>
                    <a:pt x="411" y="338"/>
                  </a:lnTo>
                  <a:lnTo>
                    <a:pt x="311" y="353"/>
                  </a:lnTo>
                  <a:lnTo>
                    <a:pt x="277" y="382"/>
                  </a:lnTo>
                  <a:lnTo>
                    <a:pt x="309" y="403"/>
                  </a:lnTo>
                  <a:lnTo>
                    <a:pt x="236" y="434"/>
                  </a:lnTo>
                  <a:lnTo>
                    <a:pt x="202" y="397"/>
                  </a:lnTo>
                  <a:lnTo>
                    <a:pt x="98" y="417"/>
                  </a:lnTo>
                  <a:lnTo>
                    <a:pt x="75" y="417"/>
                  </a:lnTo>
                  <a:lnTo>
                    <a:pt x="71" y="330"/>
                  </a:lnTo>
                  <a:lnTo>
                    <a:pt x="4" y="307"/>
                  </a:lnTo>
                  <a:lnTo>
                    <a:pt x="67" y="240"/>
                  </a:lnTo>
                  <a:lnTo>
                    <a:pt x="0" y="219"/>
                  </a:lnTo>
                  <a:lnTo>
                    <a:pt x="2" y="204"/>
                  </a:lnTo>
                  <a:close/>
                </a:path>
              </a:pathLst>
            </a:custGeom>
            <a:solidFill>
              <a:srgbClr val="92D050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08" name="Freeform 90"/>
            <p:cNvSpPr>
              <a:spLocks/>
            </p:cNvSpPr>
            <p:nvPr/>
          </p:nvSpPr>
          <p:spPr bwMode="gray">
            <a:xfrm>
              <a:off x="8159763" y="2415386"/>
              <a:ext cx="396875" cy="377825"/>
            </a:xfrm>
            <a:custGeom>
              <a:avLst/>
              <a:gdLst>
                <a:gd name="T0" fmla="*/ 673 w 591"/>
                <a:gd name="T1" fmla="*/ 29129 h 558"/>
                <a:gd name="T2" fmla="*/ 9416 w 591"/>
                <a:gd name="T3" fmla="*/ 36581 h 558"/>
                <a:gd name="T4" fmla="*/ 14797 w 591"/>
                <a:gd name="T5" fmla="*/ 54871 h 558"/>
                <a:gd name="T6" fmla="*/ 9416 w 591"/>
                <a:gd name="T7" fmla="*/ 60291 h 558"/>
                <a:gd name="T8" fmla="*/ 19504 w 591"/>
                <a:gd name="T9" fmla="*/ 62323 h 558"/>
                <a:gd name="T10" fmla="*/ 18832 w 591"/>
                <a:gd name="T11" fmla="*/ 71129 h 558"/>
                <a:gd name="T12" fmla="*/ 30266 w 591"/>
                <a:gd name="T13" fmla="*/ 69775 h 558"/>
                <a:gd name="T14" fmla="*/ 39682 w 591"/>
                <a:gd name="T15" fmla="*/ 77904 h 558"/>
                <a:gd name="T16" fmla="*/ 40354 w 591"/>
                <a:gd name="T17" fmla="*/ 89420 h 558"/>
                <a:gd name="T18" fmla="*/ 53133 w 591"/>
                <a:gd name="T19" fmla="*/ 81291 h 558"/>
                <a:gd name="T20" fmla="*/ 70620 w 591"/>
                <a:gd name="T21" fmla="*/ 94839 h 558"/>
                <a:gd name="T22" fmla="*/ 89452 w 591"/>
                <a:gd name="T23" fmla="*/ 85355 h 558"/>
                <a:gd name="T24" fmla="*/ 80708 w 591"/>
                <a:gd name="T25" fmla="*/ 74517 h 558"/>
                <a:gd name="T26" fmla="*/ 82053 w 591"/>
                <a:gd name="T27" fmla="*/ 73162 h 558"/>
                <a:gd name="T28" fmla="*/ 99540 w 591"/>
                <a:gd name="T29" fmla="*/ 56904 h 558"/>
                <a:gd name="T30" fmla="*/ 95505 w 591"/>
                <a:gd name="T31" fmla="*/ 38613 h 558"/>
                <a:gd name="T32" fmla="*/ 89452 w 591"/>
                <a:gd name="T33" fmla="*/ 22355 h 558"/>
                <a:gd name="T34" fmla="*/ 75328 w 591"/>
                <a:gd name="T35" fmla="*/ 14226 h 558"/>
                <a:gd name="T36" fmla="*/ 73310 w 591"/>
                <a:gd name="T37" fmla="*/ 4065 h 558"/>
                <a:gd name="T38" fmla="*/ 63894 w 591"/>
                <a:gd name="T39" fmla="*/ 4065 h 558"/>
                <a:gd name="T40" fmla="*/ 34301 w 591"/>
                <a:gd name="T41" fmla="*/ 0 h 558"/>
                <a:gd name="T42" fmla="*/ 28248 w 591"/>
                <a:gd name="T43" fmla="*/ 7452 h 558"/>
                <a:gd name="T44" fmla="*/ 12106 w 591"/>
                <a:gd name="T45" fmla="*/ 2710 h 558"/>
                <a:gd name="T46" fmla="*/ 4035 w 591"/>
                <a:gd name="T47" fmla="*/ 11516 h 558"/>
                <a:gd name="T48" fmla="*/ 5381 w 591"/>
                <a:gd name="T49" fmla="*/ 20323 h 558"/>
                <a:gd name="T50" fmla="*/ 0 w 591"/>
                <a:gd name="T51" fmla="*/ 27097 h 558"/>
                <a:gd name="T52" fmla="*/ 673 w 591"/>
                <a:gd name="T53" fmla="*/ 29129 h 558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591"/>
                <a:gd name="T82" fmla="*/ 0 h 558"/>
                <a:gd name="T83" fmla="*/ 591 w 591"/>
                <a:gd name="T84" fmla="*/ 558 h 558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591" h="558">
                  <a:moveTo>
                    <a:pt x="4" y="174"/>
                  </a:moveTo>
                  <a:lnTo>
                    <a:pt x="54" y="216"/>
                  </a:lnTo>
                  <a:lnTo>
                    <a:pt x="88" y="324"/>
                  </a:lnTo>
                  <a:lnTo>
                    <a:pt x="54" y="356"/>
                  </a:lnTo>
                  <a:lnTo>
                    <a:pt x="115" y="368"/>
                  </a:lnTo>
                  <a:lnTo>
                    <a:pt x="109" y="422"/>
                  </a:lnTo>
                  <a:lnTo>
                    <a:pt x="180" y="414"/>
                  </a:lnTo>
                  <a:lnTo>
                    <a:pt x="236" y="462"/>
                  </a:lnTo>
                  <a:lnTo>
                    <a:pt x="240" y="527"/>
                  </a:lnTo>
                  <a:lnTo>
                    <a:pt x="315" y="483"/>
                  </a:lnTo>
                  <a:lnTo>
                    <a:pt x="420" y="558"/>
                  </a:lnTo>
                  <a:lnTo>
                    <a:pt x="530" y="506"/>
                  </a:lnTo>
                  <a:lnTo>
                    <a:pt x="480" y="443"/>
                  </a:lnTo>
                  <a:lnTo>
                    <a:pt x="488" y="433"/>
                  </a:lnTo>
                  <a:lnTo>
                    <a:pt x="591" y="339"/>
                  </a:lnTo>
                  <a:lnTo>
                    <a:pt x="568" y="228"/>
                  </a:lnTo>
                  <a:lnTo>
                    <a:pt x="532" y="130"/>
                  </a:lnTo>
                  <a:lnTo>
                    <a:pt x="445" y="84"/>
                  </a:lnTo>
                  <a:lnTo>
                    <a:pt x="434" y="26"/>
                  </a:lnTo>
                  <a:lnTo>
                    <a:pt x="380" y="24"/>
                  </a:lnTo>
                  <a:lnTo>
                    <a:pt x="203" y="0"/>
                  </a:lnTo>
                  <a:lnTo>
                    <a:pt x="167" y="44"/>
                  </a:lnTo>
                  <a:lnTo>
                    <a:pt x="69" y="19"/>
                  </a:lnTo>
                  <a:lnTo>
                    <a:pt x="21" y="67"/>
                  </a:lnTo>
                  <a:lnTo>
                    <a:pt x="29" y="122"/>
                  </a:lnTo>
                  <a:lnTo>
                    <a:pt x="0" y="161"/>
                  </a:lnTo>
                  <a:lnTo>
                    <a:pt x="4" y="174"/>
                  </a:lnTo>
                  <a:close/>
                </a:path>
              </a:pathLst>
            </a:custGeom>
            <a:solidFill>
              <a:srgbClr val="99DFB9"/>
            </a:solidFill>
            <a:ln w="9525">
              <a:solidFill>
                <a:srgbClr val="99DFB9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09" name="Freeform 102"/>
            <p:cNvSpPr>
              <a:spLocks/>
            </p:cNvSpPr>
            <p:nvPr/>
          </p:nvSpPr>
          <p:spPr bwMode="gray">
            <a:xfrm>
              <a:off x="7908934" y="2435917"/>
              <a:ext cx="412750" cy="450850"/>
            </a:xfrm>
            <a:custGeom>
              <a:avLst/>
              <a:gdLst>
                <a:gd name="T0" fmla="*/ 1343 w 616"/>
                <a:gd name="T1" fmla="*/ 77904 h 666"/>
                <a:gd name="T2" fmla="*/ 7386 w 616"/>
                <a:gd name="T3" fmla="*/ 68420 h 666"/>
                <a:gd name="T4" fmla="*/ 12757 w 616"/>
                <a:gd name="T5" fmla="*/ 70452 h 666"/>
                <a:gd name="T6" fmla="*/ 15443 w 616"/>
                <a:gd name="T7" fmla="*/ 55549 h 666"/>
                <a:gd name="T8" fmla="*/ 26186 w 616"/>
                <a:gd name="T9" fmla="*/ 50129 h 666"/>
                <a:gd name="T10" fmla="*/ 16114 w 616"/>
                <a:gd name="T11" fmla="*/ 40645 h 666"/>
                <a:gd name="T12" fmla="*/ 16786 w 616"/>
                <a:gd name="T13" fmla="*/ 30484 h 666"/>
                <a:gd name="T14" fmla="*/ 16786 w 616"/>
                <a:gd name="T15" fmla="*/ 18968 h 666"/>
                <a:gd name="T16" fmla="*/ 47000 w 616"/>
                <a:gd name="T17" fmla="*/ 2032 h 666"/>
                <a:gd name="T18" fmla="*/ 61100 w 616"/>
                <a:gd name="T19" fmla="*/ 0 h 666"/>
                <a:gd name="T20" fmla="*/ 66472 w 616"/>
                <a:gd name="T21" fmla="*/ 6774 h 666"/>
                <a:gd name="T22" fmla="*/ 67143 w 616"/>
                <a:gd name="T23" fmla="*/ 15581 h 666"/>
                <a:gd name="T24" fmla="*/ 62443 w 616"/>
                <a:gd name="T25" fmla="*/ 22355 h 666"/>
                <a:gd name="T26" fmla="*/ 63115 w 616"/>
                <a:gd name="T27" fmla="*/ 24387 h 666"/>
                <a:gd name="T28" fmla="*/ 71172 w 616"/>
                <a:gd name="T29" fmla="*/ 31161 h 666"/>
                <a:gd name="T30" fmla="*/ 77215 w 616"/>
                <a:gd name="T31" fmla="*/ 50129 h 666"/>
                <a:gd name="T32" fmla="*/ 71843 w 616"/>
                <a:gd name="T33" fmla="*/ 55549 h 666"/>
                <a:gd name="T34" fmla="*/ 81915 w 616"/>
                <a:gd name="T35" fmla="*/ 56904 h 666"/>
                <a:gd name="T36" fmla="*/ 80572 w 616"/>
                <a:gd name="T37" fmla="*/ 65710 h 666"/>
                <a:gd name="T38" fmla="*/ 94000 w 616"/>
                <a:gd name="T39" fmla="*/ 65033 h 666"/>
                <a:gd name="T40" fmla="*/ 102058 w 616"/>
                <a:gd name="T41" fmla="*/ 72484 h 666"/>
                <a:gd name="T42" fmla="*/ 103401 w 616"/>
                <a:gd name="T43" fmla="*/ 84000 h 666"/>
                <a:gd name="T44" fmla="*/ 50357 w 616"/>
                <a:gd name="T45" fmla="*/ 113130 h 666"/>
                <a:gd name="T46" fmla="*/ 38943 w 616"/>
                <a:gd name="T47" fmla="*/ 107710 h 666"/>
                <a:gd name="T48" fmla="*/ 43643 w 616"/>
                <a:gd name="T49" fmla="*/ 103646 h 666"/>
                <a:gd name="T50" fmla="*/ 37600 w 616"/>
                <a:gd name="T51" fmla="*/ 102968 h 666"/>
                <a:gd name="T52" fmla="*/ 31557 w 616"/>
                <a:gd name="T53" fmla="*/ 93484 h 666"/>
                <a:gd name="T54" fmla="*/ 18800 w 616"/>
                <a:gd name="T55" fmla="*/ 91452 h 666"/>
                <a:gd name="T56" fmla="*/ 14100 w 616"/>
                <a:gd name="T57" fmla="*/ 96872 h 666"/>
                <a:gd name="T58" fmla="*/ 8729 w 616"/>
                <a:gd name="T59" fmla="*/ 83323 h 666"/>
                <a:gd name="T60" fmla="*/ 0 w 616"/>
                <a:gd name="T61" fmla="*/ 79936 h 666"/>
                <a:gd name="T62" fmla="*/ 1343 w 616"/>
                <a:gd name="T63" fmla="*/ 77904 h 66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16"/>
                <a:gd name="T97" fmla="*/ 0 h 666"/>
                <a:gd name="T98" fmla="*/ 616 w 616"/>
                <a:gd name="T99" fmla="*/ 666 h 66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16" h="666">
                  <a:moveTo>
                    <a:pt x="11" y="463"/>
                  </a:moveTo>
                  <a:lnTo>
                    <a:pt x="44" y="405"/>
                  </a:lnTo>
                  <a:lnTo>
                    <a:pt x="76" y="417"/>
                  </a:lnTo>
                  <a:lnTo>
                    <a:pt x="94" y="325"/>
                  </a:lnTo>
                  <a:lnTo>
                    <a:pt x="157" y="296"/>
                  </a:lnTo>
                  <a:lnTo>
                    <a:pt x="96" y="240"/>
                  </a:lnTo>
                  <a:lnTo>
                    <a:pt x="103" y="183"/>
                  </a:lnTo>
                  <a:lnTo>
                    <a:pt x="100" y="113"/>
                  </a:lnTo>
                  <a:lnTo>
                    <a:pt x="280" y="12"/>
                  </a:lnTo>
                  <a:lnTo>
                    <a:pt x="364" y="0"/>
                  </a:lnTo>
                  <a:lnTo>
                    <a:pt x="397" y="37"/>
                  </a:lnTo>
                  <a:lnTo>
                    <a:pt x="401" y="92"/>
                  </a:lnTo>
                  <a:lnTo>
                    <a:pt x="372" y="131"/>
                  </a:lnTo>
                  <a:lnTo>
                    <a:pt x="376" y="144"/>
                  </a:lnTo>
                  <a:lnTo>
                    <a:pt x="426" y="186"/>
                  </a:lnTo>
                  <a:lnTo>
                    <a:pt x="462" y="294"/>
                  </a:lnTo>
                  <a:lnTo>
                    <a:pt x="428" y="326"/>
                  </a:lnTo>
                  <a:lnTo>
                    <a:pt x="489" y="338"/>
                  </a:lnTo>
                  <a:lnTo>
                    <a:pt x="483" y="390"/>
                  </a:lnTo>
                  <a:lnTo>
                    <a:pt x="560" y="384"/>
                  </a:lnTo>
                  <a:lnTo>
                    <a:pt x="608" y="428"/>
                  </a:lnTo>
                  <a:lnTo>
                    <a:pt x="616" y="497"/>
                  </a:lnTo>
                  <a:lnTo>
                    <a:pt x="299" y="666"/>
                  </a:lnTo>
                  <a:lnTo>
                    <a:pt x="232" y="635"/>
                  </a:lnTo>
                  <a:lnTo>
                    <a:pt x="259" y="609"/>
                  </a:lnTo>
                  <a:lnTo>
                    <a:pt x="224" y="607"/>
                  </a:lnTo>
                  <a:lnTo>
                    <a:pt x="190" y="551"/>
                  </a:lnTo>
                  <a:lnTo>
                    <a:pt x="115" y="540"/>
                  </a:lnTo>
                  <a:lnTo>
                    <a:pt x="86" y="570"/>
                  </a:lnTo>
                  <a:lnTo>
                    <a:pt x="55" y="493"/>
                  </a:lnTo>
                  <a:lnTo>
                    <a:pt x="0" y="474"/>
                  </a:lnTo>
                  <a:lnTo>
                    <a:pt x="11" y="463"/>
                  </a:lnTo>
                  <a:close/>
                </a:path>
              </a:pathLst>
            </a:custGeom>
            <a:solidFill>
              <a:srgbClr val="99DFB9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10" name="Freeform 48"/>
            <p:cNvSpPr>
              <a:spLocks/>
            </p:cNvSpPr>
            <p:nvPr/>
          </p:nvSpPr>
          <p:spPr bwMode="gray">
            <a:xfrm>
              <a:off x="8448684" y="2258223"/>
              <a:ext cx="558800" cy="404813"/>
            </a:xfrm>
            <a:custGeom>
              <a:avLst/>
              <a:gdLst>
                <a:gd name="T0" fmla="*/ 671 w 835"/>
                <a:gd name="T1" fmla="*/ 44635 h 599"/>
                <a:gd name="T2" fmla="*/ 2012 w 835"/>
                <a:gd name="T3" fmla="*/ 52751 h 599"/>
                <a:gd name="T4" fmla="*/ 16766 w 835"/>
                <a:gd name="T5" fmla="*/ 60866 h 599"/>
                <a:gd name="T6" fmla="*/ 23472 w 835"/>
                <a:gd name="T7" fmla="*/ 77097 h 599"/>
                <a:gd name="T8" fmla="*/ 28166 w 835"/>
                <a:gd name="T9" fmla="*/ 79802 h 599"/>
                <a:gd name="T10" fmla="*/ 36214 w 835"/>
                <a:gd name="T11" fmla="*/ 67629 h 599"/>
                <a:gd name="T12" fmla="*/ 42250 w 835"/>
                <a:gd name="T13" fmla="*/ 70334 h 599"/>
                <a:gd name="T14" fmla="*/ 44261 w 835"/>
                <a:gd name="T15" fmla="*/ 65600 h 599"/>
                <a:gd name="T16" fmla="*/ 52309 w 835"/>
                <a:gd name="T17" fmla="*/ 64248 h 599"/>
                <a:gd name="T18" fmla="*/ 55662 w 835"/>
                <a:gd name="T19" fmla="*/ 79126 h 599"/>
                <a:gd name="T20" fmla="*/ 72428 w 835"/>
                <a:gd name="T21" fmla="*/ 85889 h 599"/>
                <a:gd name="T22" fmla="*/ 95229 w 835"/>
                <a:gd name="T23" fmla="*/ 85889 h 599"/>
                <a:gd name="T24" fmla="*/ 96570 w 835"/>
                <a:gd name="T25" fmla="*/ 92652 h 599"/>
                <a:gd name="T26" fmla="*/ 105289 w 835"/>
                <a:gd name="T27" fmla="*/ 91976 h 599"/>
                <a:gd name="T28" fmla="*/ 114007 w 835"/>
                <a:gd name="T29" fmla="*/ 100768 h 599"/>
                <a:gd name="T30" fmla="*/ 114677 w 835"/>
                <a:gd name="T31" fmla="*/ 100768 h 599"/>
                <a:gd name="T32" fmla="*/ 125407 w 835"/>
                <a:gd name="T33" fmla="*/ 95357 h 599"/>
                <a:gd name="T34" fmla="*/ 121384 w 835"/>
                <a:gd name="T35" fmla="*/ 67629 h 599"/>
                <a:gd name="T36" fmla="*/ 131443 w 835"/>
                <a:gd name="T37" fmla="*/ 61543 h 599"/>
                <a:gd name="T38" fmla="*/ 139491 w 835"/>
                <a:gd name="T39" fmla="*/ 56132 h 599"/>
                <a:gd name="T40" fmla="*/ 139491 w 835"/>
                <a:gd name="T41" fmla="*/ 41930 h 599"/>
                <a:gd name="T42" fmla="*/ 118701 w 835"/>
                <a:gd name="T43" fmla="*/ 30433 h 599"/>
                <a:gd name="T44" fmla="*/ 108642 w 835"/>
                <a:gd name="T45" fmla="*/ 6763 h 599"/>
                <a:gd name="T46" fmla="*/ 109312 w 835"/>
                <a:gd name="T47" fmla="*/ 6087 h 599"/>
                <a:gd name="T48" fmla="*/ 95900 w 835"/>
                <a:gd name="T49" fmla="*/ 17584 h 599"/>
                <a:gd name="T50" fmla="*/ 90535 w 835"/>
                <a:gd name="T51" fmla="*/ 9468 h 599"/>
                <a:gd name="T52" fmla="*/ 74440 w 835"/>
                <a:gd name="T53" fmla="*/ 13526 h 599"/>
                <a:gd name="T54" fmla="*/ 60356 w 835"/>
                <a:gd name="T55" fmla="*/ 0 h 599"/>
                <a:gd name="T56" fmla="*/ 51638 w 835"/>
                <a:gd name="T57" fmla="*/ 676 h 599"/>
                <a:gd name="T58" fmla="*/ 46944 w 835"/>
                <a:gd name="T59" fmla="*/ 8116 h 599"/>
                <a:gd name="T60" fmla="*/ 34873 w 835"/>
                <a:gd name="T61" fmla="*/ 6763 h 599"/>
                <a:gd name="T62" fmla="*/ 24813 w 835"/>
                <a:gd name="T63" fmla="*/ 15555 h 599"/>
                <a:gd name="T64" fmla="*/ 27496 w 835"/>
                <a:gd name="T65" fmla="*/ 28404 h 599"/>
                <a:gd name="T66" fmla="*/ 8048 w 835"/>
                <a:gd name="T67" fmla="*/ 32462 h 599"/>
                <a:gd name="T68" fmla="*/ 0 w 835"/>
                <a:gd name="T69" fmla="*/ 43283 h 599"/>
                <a:gd name="T70" fmla="*/ 671 w 835"/>
                <a:gd name="T71" fmla="*/ 44635 h 59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35"/>
                <a:gd name="T109" fmla="*/ 0 h 599"/>
                <a:gd name="T110" fmla="*/ 835 w 835"/>
                <a:gd name="T111" fmla="*/ 599 h 59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35" h="599">
                  <a:moveTo>
                    <a:pt x="6" y="267"/>
                  </a:moveTo>
                  <a:lnTo>
                    <a:pt x="15" y="315"/>
                  </a:lnTo>
                  <a:lnTo>
                    <a:pt x="102" y="363"/>
                  </a:lnTo>
                  <a:lnTo>
                    <a:pt x="140" y="457"/>
                  </a:lnTo>
                  <a:lnTo>
                    <a:pt x="169" y="472"/>
                  </a:lnTo>
                  <a:lnTo>
                    <a:pt x="219" y="403"/>
                  </a:lnTo>
                  <a:lnTo>
                    <a:pt x="255" y="417"/>
                  </a:lnTo>
                  <a:lnTo>
                    <a:pt x="265" y="388"/>
                  </a:lnTo>
                  <a:lnTo>
                    <a:pt x="313" y="382"/>
                  </a:lnTo>
                  <a:lnTo>
                    <a:pt x="334" y="469"/>
                  </a:lnTo>
                  <a:lnTo>
                    <a:pt x="434" y="511"/>
                  </a:lnTo>
                  <a:lnTo>
                    <a:pt x="568" y="511"/>
                  </a:lnTo>
                  <a:lnTo>
                    <a:pt x="578" y="549"/>
                  </a:lnTo>
                  <a:lnTo>
                    <a:pt x="631" y="545"/>
                  </a:lnTo>
                  <a:lnTo>
                    <a:pt x="681" y="599"/>
                  </a:lnTo>
                  <a:lnTo>
                    <a:pt x="687" y="599"/>
                  </a:lnTo>
                  <a:lnTo>
                    <a:pt x="750" y="565"/>
                  </a:lnTo>
                  <a:lnTo>
                    <a:pt x="726" y="400"/>
                  </a:lnTo>
                  <a:lnTo>
                    <a:pt x="785" y="365"/>
                  </a:lnTo>
                  <a:lnTo>
                    <a:pt x="835" y="332"/>
                  </a:lnTo>
                  <a:lnTo>
                    <a:pt x="835" y="250"/>
                  </a:lnTo>
                  <a:lnTo>
                    <a:pt x="708" y="181"/>
                  </a:lnTo>
                  <a:lnTo>
                    <a:pt x="651" y="41"/>
                  </a:lnTo>
                  <a:lnTo>
                    <a:pt x="654" y="37"/>
                  </a:lnTo>
                  <a:lnTo>
                    <a:pt x="574" y="106"/>
                  </a:lnTo>
                  <a:lnTo>
                    <a:pt x="543" y="56"/>
                  </a:lnTo>
                  <a:lnTo>
                    <a:pt x="447" y="83"/>
                  </a:lnTo>
                  <a:lnTo>
                    <a:pt x="363" y="0"/>
                  </a:lnTo>
                  <a:lnTo>
                    <a:pt x="309" y="6"/>
                  </a:lnTo>
                  <a:lnTo>
                    <a:pt x="282" y="48"/>
                  </a:lnTo>
                  <a:lnTo>
                    <a:pt x="211" y="41"/>
                  </a:lnTo>
                  <a:lnTo>
                    <a:pt x="148" y="94"/>
                  </a:lnTo>
                  <a:lnTo>
                    <a:pt x="167" y="171"/>
                  </a:lnTo>
                  <a:lnTo>
                    <a:pt x="50" y="192"/>
                  </a:lnTo>
                  <a:lnTo>
                    <a:pt x="0" y="259"/>
                  </a:lnTo>
                  <a:lnTo>
                    <a:pt x="6" y="267"/>
                  </a:lnTo>
                  <a:close/>
                </a:path>
              </a:pathLst>
            </a:custGeom>
            <a:solidFill>
              <a:srgbClr val="99DFB9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11" name="Freeform 32"/>
            <p:cNvSpPr>
              <a:spLocks/>
            </p:cNvSpPr>
            <p:nvPr/>
          </p:nvSpPr>
          <p:spPr bwMode="gray">
            <a:xfrm>
              <a:off x="9025003" y="1677093"/>
              <a:ext cx="465137" cy="530225"/>
            </a:xfrm>
            <a:custGeom>
              <a:avLst/>
              <a:gdLst>
                <a:gd name="T0" fmla="*/ 2682 w 693"/>
                <a:gd name="T1" fmla="*/ 81864 h 785"/>
                <a:gd name="T2" fmla="*/ 5364 w 693"/>
                <a:gd name="T3" fmla="*/ 92689 h 785"/>
                <a:gd name="T4" fmla="*/ 13409 w 693"/>
                <a:gd name="T5" fmla="*/ 96748 h 785"/>
                <a:gd name="T6" fmla="*/ 11398 w 693"/>
                <a:gd name="T7" fmla="*/ 102837 h 785"/>
                <a:gd name="T8" fmla="*/ 39557 w 693"/>
                <a:gd name="T9" fmla="*/ 118398 h 785"/>
                <a:gd name="T10" fmla="*/ 49614 w 693"/>
                <a:gd name="T11" fmla="*/ 132606 h 785"/>
                <a:gd name="T12" fmla="*/ 68387 w 693"/>
                <a:gd name="T13" fmla="*/ 124487 h 785"/>
                <a:gd name="T14" fmla="*/ 95206 w 693"/>
                <a:gd name="T15" fmla="*/ 122457 h 785"/>
                <a:gd name="T16" fmla="*/ 109956 w 693"/>
                <a:gd name="T17" fmla="*/ 102161 h 785"/>
                <a:gd name="T18" fmla="*/ 115990 w 693"/>
                <a:gd name="T19" fmla="*/ 83893 h 785"/>
                <a:gd name="T20" fmla="*/ 113308 w 693"/>
                <a:gd name="T21" fmla="*/ 73745 h 785"/>
                <a:gd name="T22" fmla="*/ 103922 w 693"/>
                <a:gd name="T23" fmla="*/ 64950 h 785"/>
                <a:gd name="T24" fmla="*/ 112638 w 693"/>
                <a:gd name="T25" fmla="*/ 57508 h 785"/>
                <a:gd name="T26" fmla="*/ 111967 w 693"/>
                <a:gd name="T27" fmla="*/ 48712 h 785"/>
                <a:gd name="T28" fmla="*/ 103251 w 693"/>
                <a:gd name="T29" fmla="*/ 48036 h 785"/>
                <a:gd name="T30" fmla="*/ 93865 w 693"/>
                <a:gd name="T31" fmla="*/ 51419 h 785"/>
                <a:gd name="T32" fmla="*/ 87160 w 693"/>
                <a:gd name="T33" fmla="*/ 39241 h 785"/>
                <a:gd name="T34" fmla="*/ 83137 w 693"/>
                <a:gd name="T35" fmla="*/ 43300 h 785"/>
                <a:gd name="T36" fmla="*/ 75762 w 693"/>
                <a:gd name="T37" fmla="*/ 35858 h 785"/>
                <a:gd name="T38" fmla="*/ 69728 w 693"/>
                <a:gd name="T39" fmla="*/ 37887 h 785"/>
                <a:gd name="T40" fmla="*/ 67046 w 693"/>
                <a:gd name="T41" fmla="*/ 28416 h 785"/>
                <a:gd name="T42" fmla="*/ 72410 w 693"/>
                <a:gd name="T43" fmla="*/ 23680 h 785"/>
                <a:gd name="T44" fmla="*/ 65035 w 693"/>
                <a:gd name="T45" fmla="*/ 11502 h 785"/>
                <a:gd name="T46" fmla="*/ 59671 w 693"/>
                <a:gd name="T47" fmla="*/ 12855 h 785"/>
                <a:gd name="T48" fmla="*/ 57660 w 693"/>
                <a:gd name="T49" fmla="*/ 3383 h 785"/>
                <a:gd name="T50" fmla="*/ 49614 w 693"/>
                <a:gd name="T51" fmla="*/ 0 h 785"/>
                <a:gd name="T52" fmla="*/ 40228 w 693"/>
                <a:gd name="T53" fmla="*/ 0 h 785"/>
                <a:gd name="T54" fmla="*/ 37546 w 693"/>
                <a:gd name="T55" fmla="*/ 6089 h 785"/>
                <a:gd name="T56" fmla="*/ 18773 w 693"/>
                <a:gd name="T57" fmla="*/ 7442 h 785"/>
                <a:gd name="T58" fmla="*/ 17432 w 693"/>
                <a:gd name="T59" fmla="*/ 11502 h 785"/>
                <a:gd name="T60" fmla="*/ 14080 w 693"/>
                <a:gd name="T61" fmla="*/ 17591 h 785"/>
                <a:gd name="T62" fmla="*/ 18773 w 693"/>
                <a:gd name="T63" fmla="*/ 20297 h 785"/>
                <a:gd name="T64" fmla="*/ 20784 w 693"/>
                <a:gd name="T65" fmla="*/ 31122 h 785"/>
                <a:gd name="T66" fmla="*/ 12739 w 693"/>
                <a:gd name="T67" fmla="*/ 35858 h 785"/>
                <a:gd name="T68" fmla="*/ 16762 w 693"/>
                <a:gd name="T69" fmla="*/ 40594 h 785"/>
                <a:gd name="T70" fmla="*/ 11398 w 693"/>
                <a:gd name="T71" fmla="*/ 41270 h 785"/>
                <a:gd name="T72" fmla="*/ 0 w 693"/>
                <a:gd name="T73" fmla="*/ 73069 h 785"/>
                <a:gd name="T74" fmla="*/ 2682 w 693"/>
                <a:gd name="T75" fmla="*/ 81864 h 78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693"/>
                <a:gd name="T115" fmla="*/ 0 h 785"/>
                <a:gd name="T116" fmla="*/ 693 w 693"/>
                <a:gd name="T117" fmla="*/ 785 h 78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693" h="785">
                  <a:moveTo>
                    <a:pt x="17" y="486"/>
                  </a:moveTo>
                  <a:lnTo>
                    <a:pt x="34" y="549"/>
                  </a:lnTo>
                  <a:lnTo>
                    <a:pt x="80" y="574"/>
                  </a:lnTo>
                  <a:lnTo>
                    <a:pt x="69" y="609"/>
                  </a:lnTo>
                  <a:lnTo>
                    <a:pt x="236" y="703"/>
                  </a:lnTo>
                  <a:lnTo>
                    <a:pt x="299" y="785"/>
                  </a:lnTo>
                  <a:lnTo>
                    <a:pt x="409" y="736"/>
                  </a:lnTo>
                  <a:lnTo>
                    <a:pt x="570" y="726"/>
                  </a:lnTo>
                  <a:lnTo>
                    <a:pt x="658" y="605"/>
                  </a:lnTo>
                  <a:lnTo>
                    <a:pt x="693" y="496"/>
                  </a:lnTo>
                  <a:lnTo>
                    <a:pt x="679" y="436"/>
                  </a:lnTo>
                  <a:lnTo>
                    <a:pt x="622" y="384"/>
                  </a:lnTo>
                  <a:lnTo>
                    <a:pt x="672" y="340"/>
                  </a:lnTo>
                  <a:lnTo>
                    <a:pt x="670" y="290"/>
                  </a:lnTo>
                  <a:lnTo>
                    <a:pt x="618" y="286"/>
                  </a:lnTo>
                  <a:lnTo>
                    <a:pt x="562" y="306"/>
                  </a:lnTo>
                  <a:lnTo>
                    <a:pt x="522" y="235"/>
                  </a:lnTo>
                  <a:lnTo>
                    <a:pt x="497" y="258"/>
                  </a:lnTo>
                  <a:lnTo>
                    <a:pt x="453" y="215"/>
                  </a:lnTo>
                  <a:lnTo>
                    <a:pt x="418" y="225"/>
                  </a:lnTo>
                  <a:lnTo>
                    <a:pt x="401" y="169"/>
                  </a:lnTo>
                  <a:lnTo>
                    <a:pt x="434" y="142"/>
                  </a:lnTo>
                  <a:lnTo>
                    <a:pt x="390" y="71"/>
                  </a:lnTo>
                  <a:lnTo>
                    <a:pt x="357" y="77"/>
                  </a:lnTo>
                  <a:lnTo>
                    <a:pt x="345" y="22"/>
                  </a:lnTo>
                  <a:lnTo>
                    <a:pt x="299" y="2"/>
                  </a:lnTo>
                  <a:lnTo>
                    <a:pt x="242" y="0"/>
                  </a:lnTo>
                  <a:lnTo>
                    <a:pt x="226" y="37"/>
                  </a:lnTo>
                  <a:lnTo>
                    <a:pt x="115" y="47"/>
                  </a:lnTo>
                  <a:lnTo>
                    <a:pt x="104" y="71"/>
                  </a:lnTo>
                  <a:lnTo>
                    <a:pt x="84" y="106"/>
                  </a:lnTo>
                  <a:lnTo>
                    <a:pt x="115" y="121"/>
                  </a:lnTo>
                  <a:lnTo>
                    <a:pt x="127" y="187"/>
                  </a:lnTo>
                  <a:lnTo>
                    <a:pt x="77" y="212"/>
                  </a:lnTo>
                  <a:lnTo>
                    <a:pt x="100" y="240"/>
                  </a:lnTo>
                  <a:lnTo>
                    <a:pt x="71" y="246"/>
                  </a:lnTo>
                  <a:lnTo>
                    <a:pt x="0" y="432"/>
                  </a:lnTo>
                  <a:lnTo>
                    <a:pt x="17" y="486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12" name="Freeform 43"/>
            <p:cNvSpPr>
              <a:spLocks/>
            </p:cNvSpPr>
            <p:nvPr/>
          </p:nvSpPr>
          <p:spPr bwMode="gray">
            <a:xfrm>
              <a:off x="8883658" y="2088266"/>
              <a:ext cx="593725" cy="471487"/>
            </a:xfrm>
            <a:custGeom>
              <a:avLst/>
              <a:gdLst>
                <a:gd name="T0" fmla="*/ 1344 w 883"/>
                <a:gd name="T1" fmla="*/ 48775 h 696"/>
                <a:gd name="T2" fmla="*/ 16133 w 883"/>
                <a:gd name="T3" fmla="*/ 53516 h 696"/>
                <a:gd name="T4" fmla="*/ 36298 w 883"/>
                <a:gd name="T5" fmla="*/ 42678 h 696"/>
                <a:gd name="T6" fmla="*/ 38315 w 883"/>
                <a:gd name="T7" fmla="*/ 34549 h 696"/>
                <a:gd name="T8" fmla="*/ 30249 w 883"/>
                <a:gd name="T9" fmla="*/ 21000 h 696"/>
                <a:gd name="T10" fmla="*/ 36971 w 883"/>
                <a:gd name="T11" fmla="*/ 12194 h 696"/>
                <a:gd name="T12" fmla="*/ 34282 w 883"/>
                <a:gd name="T13" fmla="*/ 5419 h 696"/>
                <a:gd name="T14" fmla="*/ 40332 w 883"/>
                <a:gd name="T15" fmla="*/ 3387 h 696"/>
                <a:gd name="T16" fmla="*/ 45037 w 883"/>
                <a:gd name="T17" fmla="*/ 677 h 696"/>
                <a:gd name="T18" fmla="*/ 47053 w 883"/>
                <a:gd name="T19" fmla="*/ 0 h 696"/>
                <a:gd name="T20" fmla="*/ 75286 w 883"/>
                <a:gd name="T21" fmla="*/ 15581 h 696"/>
                <a:gd name="T22" fmla="*/ 86041 w 883"/>
                <a:gd name="T23" fmla="*/ 29807 h 696"/>
                <a:gd name="T24" fmla="*/ 104190 w 883"/>
                <a:gd name="T25" fmla="*/ 21678 h 696"/>
                <a:gd name="T26" fmla="*/ 131750 w 883"/>
                <a:gd name="T27" fmla="*/ 19645 h 696"/>
                <a:gd name="T28" fmla="*/ 131750 w 883"/>
                <a:gd name="T29" fmla="*/ 23032 h 696"/>
                <a:gd name="T30" fmla="*/ 133094 w 883"/>
                <a:gd name="T31" fmla="*/ 25065 h 696"/>
                <a:gd name="T32" fmla="*/ 148555 w 883"/>
                <a:gd name="T33" fmla="*/ 33194 h 696"/>
                <a:gd name="T34" fmla="*/ 137799 w 883"/>
                <a:gd name="T35" fmla="*/ 39968 h 696"/>
                <a:gd name="T36" fmla="*/ 147210 w 883"/>
                <a:gd name="T37" fmla="*/ 58936 h 696"/>
                <a:gd name="T38" fmla="*/ 141160 w 883"/>
                <a:gd name="T39" fmla="*/ 68420 h 696"/>
                <a:gd name="T40" fmla="*/ 145866 w 883"/>
                <a:gd name="T41" fmla="*/ 77904 h 696"/>
                <a:gd name="T42" fmla="*/ 137127 w 883"/>
                <a:gd name="T43" fmla="*/ 81968 h 696"/>
                <a:gd name="T44" fmla="*/ 125700 w 883"/>
                <a:gd name="T45" fmla="*/ 73839 h 696"/>
                <a:gd name="T46" fmla="*/ 116962 w 883"/>
                <a:gd name="T47" fmla="*/ 78581 h 696"/>
                <a:gd name="T48" fmla="*/ 106879 w 883"/>
                <a:gd name="T49" fmla="*/ 74517 h 696"/>
                <a:gd name="T50" fmla="*/ 94779 w 883"/>
                <a:gd name="T51" fmla="*/ 115162 h 696"/>
                <a:gd name="T52" fmla="*/ 90074 w 883"/>
                <a:gd name="T53" fmla="*/ 114485 h 696"/>
                <a:gd name="T54" fmla="*/ 86713 w 883"/>
                <a:gd name="T55" fmla="*/ 100259 h 696"/>
                <a:gd name="T56" fmla="*/ 81335 w 883"/>
                <a:gd name="T57" fmla="*/ 105001 h 696"/>
                <a:gd name="T58" fmla="*/ 65875 w 883"/>
                <a:gd name="T59" fmla="*/ 100936 h 696"/>
                <a:gd name="T60" fmla="*/ 62514 w 883"/>
                <a:gd name="T61" fmla="*/ 110420 h 696"/>
                <a:gd name="T62" fmla="*/ 54448 w 883"/>
                <a:gd name="T63" fmla="*/ 117872 h 696"/>
                <a:gd name="T64" fmla="*/ 39659 w 883"/>
                <a:gd name="T65" fmla="*/ 113130 h 696"/>
                <a:gd name="T66" fmla="*/ 29576 w 883"/>
                <a:gd name="T67" fmla="*/ 117194 h 696"/>
                <a:gd name="T68" fmla="*/ 22182 w 883"/>
                <a:gd name="T69" fmla="*/ 111775 h 696"/>
                <a:gd name="T70" fmla="*/ 22855 w 883"/>
                <a:gd name="T71" fmla="*/ 104323 h 696"/>
                <a:gd name="T72" fmla="*/ 30921 w 883"/>
                <a:gd name="T73" fmla="*/ 98904 h 696"/>
                <a:gd name="T74" fmla="*/ 30921 w 883"/>
                <a:gd name="T75" fmla="*/ 84001 h 696"/>
                <a:gd name="T76" fmla="*/ 10083 w 883"/>
                <a:gd name="T77" fmla="*/ 73162 h 696"/>
                <a:gd name="T78" fmla="*/ 0 w 883"/>
                <a:gd name="T79" fmla="*/ 49452 h 696"/>
                <a:gd name="T80" fmla="*/ 1344 w 883"/>
                <a:gd name="T81" fmla="*/ 48775 h 69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883"/>
                <a:gd name="T124" fmla="*/ 0 h 696"/>
                <a:gd name="T125" fmla="*/ 883 w 883"/>
                <a:gd name="T126" fmla="*/ 696 h 69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883" h="696">
                  <a:moveTo>
                    <a:pt x="5" y="286"/>
                  </a:moveTo>
                  <a:lnTo>
                    <a:pt x="94" y="316"/>
                  </a:lnTo>
                  <a:lnTo>
                    <a:pt x="213" y="255"/>
                  </a:lnTo>
                  <a:lnTo>
                    <a:pt x="228" y="207"/>
                  </a:lnTo>
                  <a:lnTo>
                    <a:pt x="178" y="125"/>
                  </a:lnTo>
                  <a:lnTo>
                    <a:pt x="217" y="71"/>
                  </a:lnTo>
                  <a:lnTo>
                    <a:pt x="203" y="32"/>
                  </a:lnTo>
                  <a:lnTo>
                    <a:pt x="240" y="23"/>
                  </a:lnTo>
                  <a:lnTo>
                    <a:pt x="265" y="4"/>
                  </a:lnTo>
                  <a:lnTo>
                    <a:pt x="280" y="0"/>
                  </a:lnTo>
                  <a:lnTo>
                    <a:pt x="445" y="94"/>
                  </a:lnTo>
                  <a:lnTo>
                    <a:pt x="510" y="176"/>
                  </a:lnTo>
                  <a:lnTo>
                    <a:pt x="618" y="128"/>
                  </a:lnTo>
                  <a:lnTo>
                    <a:pt x="781" y="117"/>
                  </a:lnTo>
                  <a:lnTo>
                    <a:pt x="783" y="136"/>
                  </a:lnTo>
                  <a:lnTo>
                    <a:pt x="792" y="146"/>
                  </a:lnTo>
                  <a:lnTo>
                    <a:pt x="883" y="199"/>
                  </a:lnTo>
                  <a:lnTo>
                    <a:pt x="817" y="236"/>
                  </a:lnTo>
                  <a:lnTo>
                    <a:pt x="875" y="351"/>
                  </a:lnTo>
                  <a:lnTo>
                    <a:pt x="840" y="405"/>
                  </a:lnTo>
                  <a:lnTo>
                    <a:pt x="865" y="460"/>
                  </a:lnTo>
                  <a:lnTo>
                    <a:pt x="815" y="485"/>
                  </a:lnTo>
                  <a:lnTo>
                    <a:pt x="746" y="439"/>
                  </a:lnTo>
                  <a:lnTo>
                    <a:pt x="693" y="464"/>
                  </a:lnTo>
                  <a:lnTo>
                    <a:pt x="633" y="441"/>
                  </a:lnTo>
                  <a:lnTo>
                    <a:pt x="562" y="677"/>
                  </a:lnTo>
                  <a:lnTo>
                    <a:pt x="535" y="673"/>
                  </a:lnTo>
                  <a:lnTo>
                    <a:pt x="514" y="591"/>
                  </a:lnTo>
                  <a:lnTo>
                    <a:pt x="483" y="618"/>
                  </a:lnTo>
                  <a:lnTo>
                    <a:pt x="391" y="595"/>
                  </a:lnTo>
                  <a:lnTo>
                    <a:pt x="372" y="650"/>
                  </a:lnTo>
                  <a:lnTo>
                    <a:pt x="324" y="696"/>
                  </a:lnTo>
                  <a:lnTo>
                    <a:pt x="236" y="668"/>
                  </a:lnTo>
                  <a:lnTo>
                    <a:pt x="176" y="689"/>
                  </a:lnTo>
                  <a:lnTo>
                    <a:pt x="132" y="658"/>
                  </a:lnTo>
                  <a:lnTo>
                    <a:pt x="134" y="616"/>
                  </a:lnTo>
                  <a:lnTo>
                    <a:pt x="184" y="581"/>
                  </a:lnTo>
                  <a:lnTo>
                    <a:pt x="184" y="499"/>
                  </a:lnTo>
                  <a:lnTo>
                    <a:pt x="57" y="432"/>
                  </a:lnTo>
                  <a:lnTo>
                    <a:pt x="0" y="290"/>
                  </a:lnTo>
                  <a:lnTo>
                    <a:pt x="5" y="286"/>
                  </a:lnTo>
                  <a:close/>
                </a:path>
              </a:pathLst>
            </a:custGeom>
            <a:solidFill>
              <a:srgbClr val="99DFB9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13" name="Freeform 38"/>
            <p:cNvSpPr>
              <a:spLocks/>
            </p:cNvSpPr>
            <p:nvPr/>
          </p:nvSpPr>
          <p:spPr bwMode="gray">
            <a:xfrm>
              <a:off x="8639184" y="1886654"/>
              <a:ext cx="438150" cy="441325"/>
            </a:xfrm>
            <a:custGeom>
              <a:avLst/>
              <a:gdLst>
                <a:gd name="T0" fmla="*/ 670 w 655"/>
                <a:gd name="T1" fmla="*/ 3382 h 653"/>
                <a:gd name="T2" fmla="*/ 9386 w 655"/>
                <a:gd name="T3" fmla="*/ 2029 h 653"/>
                <a:gd name="T4" fmla="*/ 20112 w 655"/>
                <a:gd name="T5" fmla="*/ 0 h 653"/>
                <a:gd name="T6" fmla="*/ 26816 w 655"/>
                <a:gd name="T7" fmla="*/ 6764 h 653"/>
                <a:gd name="T8" fmla="*/ 39554 w 655"/>
                <a:gd name="T9" fmla="*/ 13528 h 653"/>
                <a:gd name="T10" fmla="*/ 42906 w 655"/>
                <a:gd name="T11" fmla="*/ 8793 h 653"/>
                <a:gd name="T12" fmla="*/ 50951 w 655"/>
                <a:gd name="T13" fmla="*/ 10146 h 653"/>
                <a:gd name="T14" fmla="*/ 50951 w 655"/>
                <a:gd name="T15" fmla="*/ 2706 h 653"/>
                <a:gd name="T16" fmla="*/ 69722 w 655"/>
                <a:gd name="T17" fmla="*/ 21644 h 653"/>
                <a:gd name="T18" fmla="*/ 77097 w 655"/>
                <a:gd name="T19" fmla="*/ 23674 h 653"/>
                <a:gd name="T20" fmla="*/ 81790 w 655"/>
                <a:gd name="T21" fmla="*/ 19615 h 653"/>
                <a:gd name="T22" fmla="*/ 80449 w 655"/>
                <a:gd name="T23" fmla="*/ 24350 h 653"/>
                <a:gd name="T24" fmla="*/ 87823 w 655"/>
                <a:gd name="T25" fmla="*/ 22997 h 653"/>
                <a:gd name="T26" fmla="*/ 91175 w 655"/>
                <a:gd name="T27" fmla="*/ 31790 h 653"/>
                <a:gd name="T28" fmla="*/ 99220 w 655"/>
                <a:gd name="T29" fmla="*/ 27732 h 653"/>
                <a:gd name="T30" fmla="*/ 101902 w 655"/>
                <a:gd name="T31" fmla="*/ 39907 h 653"/>
                <a:gd name="T32" fmla="*/ 109276 w 655"/>
                <a:gd name="T33" fmla="*/ 43965 h 653"/>
                <a:gd name="T34" fmla="*/ 107936 w 655"/>
                <a:gd name="T35" fmla="*/ 50053 h 653"/>
                <a:gd name="T36" fmla="*/ 105924 w 655"/>
                <a:gd name="T37" fmla="*/ 50729 h 653"/>
                <a:gd name="T38" fmla="*/ 104584 w 655"/>
                <a:gd name="T39" fmla="*/ 52758 h 653"/>
                <a:gd name="T40" fmla="*/ 100561 w 655"/>
                <a:gd name="T41" fmla="*/ 54111 h 653"/>
                <a:gd name="T42" fmla="*/ 95198 w 655"/>
                <a:gd name="T43" fmla="*/ 55464 h 653"/>
                <a:gd name="T44" fmla="*/ 97880 w 655"/>
                <a:gd name="T45" fmla="*/ 62228 h 653"/>
                <a:gd name="T46" fmla="*/ 91175 w 655"/>
                <a:gd name="T47" fmla="*/ 71021 h 653"/>
                <a:gd name="T48" fmla="*/ 99220 w 655"/>
                <a:gd name="T49" fmla="*/ 85225 h 653"/>
                <a:gd name="T50" fmla="*/ 97209 w 655"/>
                <a:gd name="T51" fmla="*/ 92665 h 653"/>
                <a:gd name="T52" fmla="*/ 77097 w 655"/>
                <a:gd name="T53" fmla="*/ 103487 h 653"/>
                <a:gd name="T54" fmla="*/ 61677 w 655"/>
                <a:gd name="T55" fmla="*/ 98752 h 653"/>
                <a:gd name="T56" fmla="*/ 48269 w 655"/>
                <a:gd name="T57" fmla="*/ 110251 h 653"/>
                <a:gd name="T58" fmla="*/ 42906 w 655"/>
                <a:gd name="T59" fmla="*/ 101458 h 653"/>
                <a:gd name="T60" fmla="*/ 27487 w 655"/>
                <a:gd name="T61" fmla="*/ 106869 h 653"/>
                <a:gd name="T62" fmla="*/ 13408 w 655"/>
                <a:gd name="T63" fmla="*/ 93341 h 653"/>
                <a:gd name="T64" fmla="*/ 17431 w 655"/>
                <a:gd name="T65" fmla="*/ 64933 h 653"/>
                <a:gd name="T66" fmla="*/ 10056 w 655"/>
                <a:gd name="T67" fmla="*/ 38554 h 653"/>
                <a:gd name="T68" fmla="*/ 1341 w 655"/>
                <a:gd name="T69" fmla="*/ 29761 h 653"/>
                <a:gd name="T70" fmla="*/ 6704 w 655"/>
                <a:gd name="T71" fmla="*/ 17586 h 653"/>
                <a:gd name="T72" fmla="*/ 2011 w 655"/>
                <a:gd name="T73" fmla="*/ 6764 h 653"/>
                <a:gd name="T74" fmla="*/ 0 w 655"/>
                <a:gd name="T75" fmla="*/ 4058 h 653"/>
                <a:gd name="T76" fmla="*/ 670 w 655"/>
                <a:gd name="T77" fmla="*/ 3382 h 65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655"/>
                <a:gd name="T118" fmla="*/ 0 h 653"/>
                <a:gd name="T119" fmla="*/ 655 w 655"/>
                <a:gd name="T120" fmla="*/ 653 h 65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655" h="653">
                  <a:moveTo>
                    <a:pt x="4" y="23"/>
                  </a:moveTo>
                  <a:lnTo>
                    <a:pt x="56" y="12"/>
                  </a:lnTo>
                  <a:lnTo>
                    <a:pt x="123" y="0"/>
                  </a:lnTo>
                  <a:lnTo>
                    <a:pt x="161" y="43"/>
                  </a:lnTo>
                  <a:lnTo>
                    <a:pt x="236" y="81"/>
                  </a:lnTo>
                  <a:lnTo>
                    <a:pt x="257" y="54"/>
                  </a:lnTo>
                  <a:lnTo>
                    <a:pt x="305" y="60"/>
                  </a:lnTo>
                  <a:lnTo>
                    <a:pt x="305" y="16"/>
                  </a:lnTo>
                  <a:lnTo>
                    <a:pt x="418" y="131"/>
                  </a:lnTo>
                  <a:lnTo>
                    <a:pt x="463" y="140"/>
                  </a:lnTo>
                  <a:lnTo>
                    <a:pt x="488" y="116"/>
                  </a:lnTo>
                  <a:lnTo>
                    <a:pt x="482" y="146"/>
                  </a:lnTo>
                  <a:lnTo>
                    <a:pt x="526" y="139"/>
                  </a:lnTo>
                  <a:lnTo>
                    <a:pt x="547" y="190"/>
                  </a:lnTo>
                  <a:lnTo>
                    <a:pt x="593" y="164"/>
                  </a:lnTo>
                  <a:lnTo>
                    <a:pt x="609" y="238"/>
                  </a:lnTo>
                  <a:lnTo>
                    <a:pt x="655" y="263"/>
                  </a:lnTo>
                  <a:lnTo>
                    <a:pt x="645" y="298"/>
                  </a:lnTo>
                  <a:lnTo>
                    <a:pt x="632" y="302"/>
                  </a:lnTo>
                  <a:lnTo>
                    <a:pt x="626" y="315"/>
                  </a:lnTo>
                  <a:lnTo>
                    <a:pt x="603" y="321"/>
                  </a:lnTo>
                  <a:lnTo>
                    <a:pt x="570" y="329"/>
                  </a:lnTo>
                  <a:lnTo>
                    <a:pt x="584" y="369"/>
                  </a:lnTo>
                  <a:lnTo>
                    <a:pt x="545" y="423"/>
                  </a:lnTo>
                  <a:lnTo>
                    <a:pt x="595" y="505"/>
                  </a:lnTo>
                  <a:lnTo>
                    <a:pt x="580" y="551"/>
                  </a:lnTo>
                  <a:lnTo>
                    <a:pt x="461" y="614"/>
                  </a:lnTo>
                  <a:lnTo>
                    <a:pt x="370" y="584"/>
                  </a:lnTo>
                  <a:lnTo>
                    <a:pt x="290" y="653"/>
                  </a:lnTo>
                  <a:lnTo>
                    <a:pt x="257" y="603"/>
                  </a:lnTo>
                  <a:lnTo>
                    <a:pt x="167" y="632"/>
                  </a:lnTo>
                  <a:lnTo>
                    <a:pt x="83" y="553"/>
                  </a:lnTo>
                  <a:lnTo>
                    <a:pt x="106" y="386"/>
                  </a:lnTo>
                  <a:lnTo>
                    <a:pt x="61" y="229"/>
                  </a:lnTo>
                  <a:lnTo>
                    <a:pt x="8" y="177"/>
                  </a:lnTo>
                  <a:lnTo>
                    <a:pt x="42" y="106"/>
                  </a:lnTo>
                  <a:lnTo>
                    <a:pt x="12" y="43"/>
                  </a:lnTo>
                  <a:lnTo>
                    <a:pt x="0" y="25"/>
                  </a:lnTo>
                  <a:lnTo>
                    <a:pt x="4" y="23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14" name="Freeform 51"/>
            <p:cNvSpPr>
              <a:spLocks/>
            </p:cNvSpPr>
            <p:nvPr/>
          </p:nvSpPr>
          <p:spPr bwMode="gray">
            <a:xfrm>
              <a:off x="8909116" y="2504180"/>
              <a:ext cx="352425" cy="493712"/>
            </a:xfrm>
            <a:custGeom>
              <a:avLst/>
              <a:gdLst>
                <a:gd name="T0" fmla="*/ 671 w 526"/>
                <a:gd name="T1" fmla="*/ 40023 h 727"/>
                <a:gd name="T2" fmla="*/ 10743 w 526"/>
                <a:gd name="T3" fmla="*/ 33918 h 727"/>
                <a:gd name="T4" fmla="*/ 6714 w 526"/>
                <a:gd name="T5" fmla="*/ 6105 h 727"/>
                <a:gd name="T6" fmla="*/ 17457 w 526"/>
                <a:gd name="T7" fmla="*/ 0 h 727"/>
                <a:gd name="T8" fmla="*/ 16114 w 526"/>
                <a:gd name="T9" fmla="*/ 7462 h 727"/>
                <a:gd name="T10" fmla="*/ 23500 w 526"/>
                <a:gd name="T11" fmla="*/ 12889 h 727"/>
                <a:gd name="T12" fmla="*/ 33572 w 526"/>
                <a:gd name="T13" fmla="*/ 9497 h 727"/>
                <a:gd name="T14" fmla="*/ 47672 w 526"/>
                <a:gd name="T15" fmla="*/ 14245 h 727"/>
                <a:gd name="T16" fmla="*/ 56400 w 526"/>
                <a:gd name="T17" fmla="*/ 6105 h 727"/>
                <a:gd name="T18" fmla="*/ 60429 w 526"/>
                <a:gd name="T19" fmla="*/ 12889 h 727"/>
                <a:gd name="T20" fmla="*/ 50357 w 526"/>
                <a:gd name="T21" fmla="*/ 16959 h 727"/>
                <a:gd name="T22" fmla="*/ 45657 w 526"/>
                <a:gd name="T23" fmla="*/ 27134 h 727"/>
                <a:gd name="T24" fmla="*/ 50357 w 526"/>
                <a:gd name="T25" fmla="*/ 31204 h 727"/>
                <a:gd name="T26" fmla="*/ 45657 w 526"/>
                <a:gd name="T27" fmla="*/ 33239 h 727"/>
                <a:gd name="T28" fmla="*/ 45657 w 526"/>
                <a:gd name="T29" fmla="*/ 34596 h 727"/>
                <a:gd name="T30" fmla="*/ 57743 w 526"/>
                <a:gd name="T31" fmla="*/ 49520 h 727"/>
                <a:gd name="T32" fmla="*/ 55729 w 526"/>
                <a:gd name="T33" fmla="*/ 71227 h 727"/>
                <a:gd name="T34" fmla="*/ 63786 w 526"/>
                <a:gd name="T35" fmla="*/ 81403 h 727"/>
                <a:gd name="T36" fmla="*/ 81915 w 526"/>
                <a:gd name="T37" fmla="*/ 84116 h 727"/>
                <a:gd name="T38" fmla="*/ 80572 w 526"/>
                <a:gd name="T39" fmla="*/ 91578 h 727"/>
                <a:gd name="T40" fmla="*/ 88629 w 526"/>
                <a:gd name="T41" fmla="*/ 96327 h 727"/>
                <a:gd name="T42" fmla="*/ 87286 w 526"/>
                <a:gd name="T43" fmla="*/ 103110 h 727"/>
                <a:gd name="T44" fmla="*/ 87958 w 526"/>
                <a:gd name="T45" fmla="*/ 107180 h 727"/>
                <a:gd name="T46" fmla="*/ 76543 w 526"/>
                <a:gd name="T47" fmla="*/ 113964 h 727"/>
                <a:gd name="T48" fmla="*/ 74529 w 526"/>
                <a:gd name="T49" fmla="*/ 121426 h 727"/>
                <a:gd name="T50" fmla="*/ 65800 w 526"/>
                <a:gd name="T51" fmla="*/ 123461 h 727"/>
                <a:gd name="T52" fmla="*/ 54386 w 526"/>
                <a:gd name="T53" fmla="*/ 118712 h 727"/>
                <a:gd name="T54" fmla="*/ 53715 w 526"/>
                <a:gd name="T55" fmla="*/ 107180 h 727"/>
                <a:gd name="T56" fmla="*/ 39614 w 526"/>
                <a:gd name="T57" fmla="*/ 105145 h 727"/>
                <a:gd name="T58" fmla="*/ 30886 w 526"/>
                <a:gd name="T59" fmla="*/ 111250 h 727"/>
                <a:gd name="T60" fmla="*/ 17457 w 526"/>
                <a:gd name="T61" fmla="*/ 109215 h 727"/>
                <a:gd name="T62" fmla="*/ 24172 w 526"/>
                <a:gd name="T63" fmla="*/ 92935 h 727"/>
                <a:gd name="T64" fmla="*/ 671 w 526"/>
                <a:gd name="T65" fmla="*/ 57660 h 727"/>
                <a:gd name="T66" fmla="*/ 5371 w 526"/>
                <a:gd name="T67" fmla="*/ 46128 h 727"/>
                <a:gd name="T68" fmla="*/ 0 w 526"/>
                <a:gd name="T69" fmla="*/ 40701 h 727"/>
                <a:gd name="T70" fmla="*/ 671 w 526"/>
                <a:gd name="T71" fmla="*/ 40023 h 72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26"/>
                <a:gd name="T109" fmla="*/ 0 h 727"/>
                <a:gd name="T110" fmla="*/ 526 w 526"/>
                <a:gd name="T111" fmla="*/ 727 h 72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26" h="727">
                  <a:moveTo>
                    <a:pt x="2" y="234"/>
                  </a:moveTo>
                  <a:lnTo>
                    <a:pt x="64" y="200"/>
                  </a:lnTo>
                  <a:lnTo>
                    <a:pt x="42" y="36"/>
                  </a:lnTo>
                  <a:lnTo>
                    <a:pt x="104" y="0"/>
                  </a:lnTo>
                  <a:lnTo>
                    <a:pt x="98" y="44"/>
                  </a:lnTo>
                  <a:lnTo>
                    <a:pt x="142" y="75"/>
                  </a:lnTo>
                  <a:lnTo>
                    <a:pt x="200" y="54"/>
                  </a:lnTo>
                  <a:lnTo>
                    <a:pt x="286" y="82"/>
                  </a:lnTo>
                  <a:lnTo>
                    <a:pt x="336" y="36"/>
                  </a:lnTo>
                  <a:lnTo>
                    <a:pt x="363" y="73"/>
                  </a:lnTo>
                  <a:lnTo>
                    <a:pt x="302" y="100"/>
                  </a:lnTo>
                  <a:lnTo>
                    <a:pt x="273" y="159"/>
                  </a:lnTo>
                  <a:lnTo>
                    <a:pt x="300" y="184"/>
                  </a:lnTo>
                  <a:lnTo>
                    <a:pt x="273" y="196"/>
                  </a:lnTo>
                  <a:lnTo>
                    <a:pt x="273" y="201"/>
                  </a:lnTo>
                  <a:lnTo>
                    <a:pt x="344" y="290"/>
                  </a:lnTo>
                  <a:lnTo>
                    <a:pt x="332" y="420"/>
                  </a:lnTo>
                  <a:lnTo>
                    <a:pt x="382" y="478"/>
                  </a:lnTo>
                  <a:lnTo>
                    <a:pt x="488" y="495"/>
                  </a:lnTo>
                  <a:lnTo>
                    <a:pt x="480" y="539"/>
                  </a:lnTo>
                  <a:lnTo>
                    <a:pt x="526" y="566"/>
                  </a:lnTo>
                  <a:lnTo>
                    <a:pt x="518" y="606"/>
                  </a:lnTo>
                  <a:lnTo>
                    <a:pt x="524" y="631"/>
                  </a:lnTo>
                  <a:lnTo>
                    <a:pt x="457" y="672"/>
                  </a:lnTo>
                  <a:lnTo>
                    <a:pt x="444" y="716"/>
                  </a:lnTo>
                  <a:lnTo>
                    <a:pt x="394" y="727"/>
                  </a:lnTo>
                  <a:lnTo>
                    <a:pt x="327" y="697"/>
                  </a:lnTo>
                  <a:lnTo>
                    <a:pt x="321" y="631"/>
                  </a:lnTo>
                  <a:lnTo>
                    <a:pt x="238" y="618"/>
                  </a:lnTo>
                  <a:lnTo>
                    <a:pt x="186" y="654"/>
                  </a:lnTo>
                  <a:lnTo>
                    <a:pt x="104" y="643"/>
                  </a:lnTo>
                  <a:lnTo>
                    <a:pt x="146" y="547"/>
                  </a:lnTo>
                  <a:lnTo>
                    <a:pt x="2" y="338"/>
                  </a:lnTo>
                  <a:lnTo>
                    <a:pt x="33" y="271"/>
                  </a:lnTo>
                  <a:lnTo>
                    <a:pt x="0" y="240"/>
                  </a:lnTo>
                  <a:lnTo>
                    <a:pt x="2" y="234"/>
                  </a:lnTo>
                  <a:close/>
                </a:path>
              </a:pathLst>
            </a:custGeom>
            <a:solidFill>
              <a:srgbClr val="99DFB9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15" name="Oval 243"/>
            <p:cNvSpPr>
              <a:spLocks noChangeArrowheads="1"/>
            </p:cNvSpPr>
            <p:nvPr/>
          </p:nvSpPr>
          <p:spPr bwMode="auto">
            <a:xfrm>
              <a:off x="8283640" y="1742180"/>
              <a:ext cx="187325" cy="184150"/>
            </a:xfrm>
            <a:prstGeom prst="ellipse">
              <a:avLst/>
            </a:prstGeom>
            <a:solidFill>
              <a:srgbClr val="4D4D4D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r>
                <a:rPr lang="en-US" sz="1100" b="1" dirty="0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216" name="Oval 244"/>
            <p:cNvSpPr>
              <a:spLocks noChangeArrowheads="1"/>
            </p:cNvSpPr>
            <p:nvPr/>
          </p:nvSpPr>
          <p:spPr bwMode="auto">
            <a:xfrm>
              <a:off x="8186746" y="2615411"/>
              <a:ext cx="188912" cy="185737"/>
            </a:xfrm>
            <a:prstGeom prst="ellipse">
              <a:avLst/>
            </a:prstGeom>
            <a:solidFill>
              <a:srgbClr val="4D4D4D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r>
                <a:rPr lang="en-US" sz="1100" b="1" dirty="0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2</a:t>
              </a:r>
            </a:p>
          </p:txBody>
        </p:sp>
        <p:sp>
          <p:nvSpPr>
            <p:cNvPr id="217" name="Oval 245"/>
            <p:cNvSpPr>
              <a:spLocks noChangeArrowheads="1"/>
            </p:cNvSpPr>
            <p:nvPr/>
          </p:nvSpPr>
          <p:spPr bwMode="auto">
            <a:xfrm>
              <a:off x="9047172" y="3037580"/>
              <a:ext cx="188912" cy="184150"/>
            </a:xfrm>
            <a:prstGeom prst="ellipse">
              <a:avLst/>
            </a:prstGeom>
            <a:solidFill>
              <a:srgbClr val="4D4D4D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r>
                <a:rPr lang="en-US" sz="1100" b="1" dirty="0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3</a:t>
              </a:r>
            </a:p>
          </p:txBody>
        </p:sp>
        <p:sp>
          <p:nvSpPr>
            <p:cNvPr id="218" name="Freeform 52"/>
            <p:cNvSpPr>
              <a:spLocks/>
            </p:cNvSpPr>
            <p:nvPr/>
          </p:nvSpPr>
          <p:spPr bwMode="gray">
            <a:xfrm>
              <a:off x="8482078" y="2516986"/>
              <a:ext cx="523875" cy="454025"/>
            </a:xfrm>
            <a:custGeom>
              <a:avLst/>
              <a:gdLst>
                <a:gd name="T0" fmla="*/ 2689 w 781"/>
                <a:gd name="T1" fmla="*/ 47279 h 672"/>
                <a:gd name="T2" fmla="*/ 19496 w 781"/>
                <a:gd name="T3" fmla="*/ 32420 h 672"/>
                <a:gd name="T4" fmla="*/ 14790 w 781"/>
                <a:gd name="T5" fmla="*/ 12157 h 672"/>
                <a:gd name="T6" fmla="*/ 20169 w 781"/>
                <a:gd name="T7" fmla="*/ 14859 h 672"/>
                <a:gd name="T8" fmla="*/ 28909 w 781"/>
                <a:gd name="T9" fmla="*/ 3377 h 672"/>
                <a:gd name="T10" fmla="*/ 34959 w 781"/>
                <a:gd name="T11" fmla="*/ 5403 h 672"/>
                <a:gd name="T12" fmla="*/ 36304 w 781"/>
                <a:gd name="T13" fmla="*/ 675 h 672"/>
                <a:gd name="T14" fmla="*/ 44371 w 781"/>
                <a:gd name="T15" fmla="*/ 0 h 672"/>
                <a:gd name="T16" fmla="*/ 47733 w 781"/>
                <a:gd name="T17" fmla="*/ 14184 h 672"/>
                <a:gd name="T18" fmla="*/ 65212 w 781"/>
                <a:gd name="T19" fmla="*/ 21613 h 672"/>
                <a:gd name="T20" fmla="*/ 87398 w 781"/>
                <a:gd name="T21" fmla="*/ 21613 h 672"/>
                <a:gd name="T22" fmla="*/ 88743 w 781"/>
                <a:gd name="T23" fmla="*/ 28367 h 672"/>
                <a:gd name="T24" fmla="*/ 98155 w 781"/>
                <a:gd name="T25" fmla="*/ 27016 h 672"/>
                <a:gd name="T26" fmla="*/ 106894 w 781"/>
                <a:gd name="T27" fmla="*/ 37147 h 672"/>
                <a:gd name="T28" fmla="*/ 112273 w 781"/>
                <a:gd name="T29" fmla="*/ 42551 h 672"/>
                <a:gd name="T30" fmla="*/ 107567 w 781"/>
                <a:gd name="T31" fmla="*/ 54033 h 672"/>
                <a:gd name="T32" fmla="*/ 131769 w 781"/>
                <a:gd name="T33" fmla="*/ 89154 h 672"/>
                <a:gd name="T34" fmla="*/ 124374 w 781"/>
                <a:gd name="T35" fmla="*/ 105364 h 672"/>
                <a:gd name="T36" fmla="*/ 106222 w 781"/>
                <a:gd name="T37" fmla="*/ 101987 h 672"/>
                <a:gd name="T38" fmla="*/ 101516 w 781"/>
                <a:gd name="T39" fmla="*/ 107390 h 672"/>
                <a:gd name="T40" fmla="*/ 91432 w 781"/>
                <a:gd name="T41" fmla="*/ 97259 h 672"/>
                <a:gd name="T42" fmla="*/ 79330 w 781"/>
                <a:gd name="T43" fmla="*/ 97259 h 672"/>
                <a:gd name="T44" fmla="*/ 59162 w 781"/>
                <a:gd name="T45" fmla="*/ 106039 h 672"/>
                <a:gd name="T46" fmla="*/ 51094 w 781"/>
                <a:gd name="T47" fmla="*/ 112793 h 672"/>
                <a:gd name="T48" fmla="*/ 40338 w 781"/>
                <a:gd name="T49" fmla="*/ 101987 h 672"/>
                <a:gd name="T50" fmla="*/ 26219 w 781"/>
                <a:gd name="T51" fmla="*/ 101987 h 672"/>
                <a:gd name="T52" fmla="*/ 24203 w 781"/>
                <a:gd name="T53" fmla="*/ 95232 h 672"/>
                <a:gd name="T54" fmla="*/ 10757 w 781"/>
                <a:gd name="T55" fmla="*/ 91180 h 672"/>
                <a:gd name="T56" fmla="*/ 8740 w 781"/>
                <a:gd name="T57" fmla="*/ 60111 h 672"/>
                <a:gd name="T58" fmla="*/ 0 w 781"/>
                <a:gd name="T59" fmla="*/ 49305 h 672"/>
                <a:gd name="T60" fmla="*/ 2689 w 781"/>
                <a:gd name="T61" fmla="*/ 47279 h 67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781"/>
                <a:gd name="T94" fmla="*/ 0 h 672"/>
                <a:gd name="T95" fmla="*/ 781 w 781"/>
                <a:gd name="T96" fmla="*/ 672 h 67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781" h="672">
                  <a:moveTo>
                    <a:pt x="13" y="282"/>
                  </a:moveTo>
                  <a:lnTo>
                    <a:pt x="113" y="192"/>
                  </a:lnTo>
                  <a:lnTo>
                    <a:pt x="88" y="75"/>
                  </a:lnTo>
                  <a:lnTo>
                    <a:pt x="119" y="89"/>
                  </a:lnTo>
                  <a:lnTo>
                    <a:pt x="169" y="21"/>
                  </a:lnTo>
                  <a:lnTo>
                    <a:pt x="205" y="35"/>
                  </a:lnTo>
                  <a:lnTo>
                    <a:pt x="213" y="6"/>
                  </a:lnTo>
                  <a:lnTo>
                    <a:pt x="261" y="0"/>
                  </a:lnTo>
                  <a:lnTo>
                    <a:pt x="284" y="87"/>
                  </a:lnTo>
                  <a:lnTo>
                    <a:pt x="386" y="129"/>
                  </a:lnTo>
                  <a:lnTo>
                    <a:pt x="518" y="129"/>
                  </a:lnTo>
                  <a:lnTo>
                    <a:pt x="526" y="169"/>
                  </a:lnTo>
                  <a:lnTo>
                    <a:pt x="583" y="163"/>
                  </a:lnTo>
                  <a:lnTo>
                    <a:pt x="635" y="223"/>
                  </a:lnTo>
                  <a:lnTo>
                    <a:pt x="668" y="254"/>
                  </a:lnTo>
                  <a:lnTo>
                    <a:pt x="637" y="321"/>
                  </a:lnTo>
                  <a:lnTo>
                    <a:pt x="781" y="530"/>
                  </a:lnTo>
                  <a:lnTo>
                    <a:pt x="739" y="626"/>
                  </a:lnTo>
                  <a:lnTo>
                    <a:pt x="631" y="607"/>
                  </a:lnTo>
                  <a:lnTo>
                    <a:pt x="604" y="639"/>
                  </a:lnTo>
                  <a:lnTo>
                    <a:pt x="541" y="578"/>
                  </a:lnTo>
                  <a:lnTo>
                    <a:pt x="470" y="578"/>
                  </a:lnTo>
                  <a:lnTo>
                    <a:pt x="349" y="632"/>
                  </a:lnTo>
                  <a:lnTo>
                    <a:pt x="301" y="672"/>
                  </a:lnTo>
                  <a:lnTo>
                    <a:pt x="240" y="607"/>
                  </a:lnTo>
                  <a:lnTo>
                    <a:pt x="155" y="607"/>
                  </a:lnTo>
                  <a:lnTo>
                    <a:pt x="142" y="566"/>
                  </a:lnTo>
                  <a:lnTo>
                    <a:pt x="61" y="543"/>
                  </a:lnTo>
                  <a:lnTo>
                    <a:pt x="50" y="357"/>
                  </a:lnTo>
                  <a:lnTo>
                    <a:pt x="0" y="294"/>
                  </a:lnTo>
                  <a:lnTo>
                    <a:pt x="13" y="282"/>
                  </a:lnTo>
                  <a:close/>
                </a:path>
              </a:pathLst>
            </a:custGeom>
            <a:solidFill>
              <a:srgbClr val="99DFB9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19" name="Freeform 70"/>
            <p:cNvSpPr>
              <a:spLocks/>
            </p:cNvSpPr>
            <p:nvPr/>
          </p:nvSpPr>
          <p:spPr bwMode="gray">
            <a:xfrm>
              <a:off x="8520121" y="3597967"/>
              <a:ext cx="566737" cy="388938"/>
            </a:xfrm>
            <a:custGeom>
              <a:avLst/>
              <a:gdLst>
                <a:gd name="T0" fmla="*/ 0 w 845"/>
                <a:gd name="T1" fmla="*/ 78948 h 528"/>
                <a:gd name="T2" fmla="*/ 2683 w 845"/>
                <a:gd name="T3" fmla="*/ 70094 h 528"/>
                <a:gd name="T4" fmla="*/ 11401 w 845"/>
                <a:gd name="T5" fmla="*/ 63453 h 528"/>
                <a:gd name="T6" fmla="*/ 6706 w 845"/>
                <a:gd name="T7" fmla="*/ 51648 h 528"/>
                <a:gd name="T8" fmla="*/ 9389 w 845"/>
                <a:gd name="T9" fmla="*/ 39105 h 528"/>
                <a:gd name="T10" fmla="*/ 18107 w 845"/>
                <a:gd name="T11" fmla="*/ 45007 h 528"/>
                <a:gd name="T12" fmla="*/ 34203 w 845"/>
                <a:gd name="T13" fmla="*/ 34678 h 528"/>
                <a:gd name="T14" fmla="*/ 44262 w 845"/>
                <a:gd name="T15" fmla="*/ 34678 h 528"/>
                <a:gd name="T16" fmla="*/ 44933 w 845"/>
                <a:gd name="T17" fmla="*/ 16970 h 528"/>
                <a:gd name="T18" fmla="*/ 57675 w 845"/>
                <a:gd name="T19" fmla="*/ 18446 h 528"/>
                <a:gd name="T20" fmla="*/ 61699 w 845"/>
                <a:gd name="T21" fmla="*/ 9592 h 528"/>
                <a:gd name="T22" fmla="*/ 69746 w 845"/>
                <a:gd name="T23" fmla="*/ 6640 h 528"/>
                <a:gd name="T24" fmla="*/ 88524 w 845"/>
                <a:gd name="T25" fmla="*/ 14757 h 528"/>
                <a:gd name="T26" fmla="*/ 97243 w 845"/>
                <a:gd name="T27" fmla="*/ 1476 h 528"/>
                <a:gd name="T28" fmla="*/ 105961 w 845"/>
                <a:gd name="T29" fmla="*/ 0 h 528"/>
                <a:gd name="T30" fmla="*/ 107302 w 845"/>
                <a:gd name="T31" fmla="*/ 8854 h 528"/>
                <a:gd name="T32" fmla="*/ 117362 w 845"/>
                <a:gd name="T33" fmla="*/ 10330 h 528"/>
                <a:gd name="T34" fmla="*/ 120715 w 845"/>
                <a:gd name="T35" fmla="*/ 19921 h 528"/>
                <a:gd name="T36" fmla="*/ 136810 w 845"/>
                <a:gd name="T37" fmla="*/ 29513 h 528"/>
                <a:gd name="T38" fmla="*/ 141505 w 845"/>
                <a:gd name="T39" fmla="*/ 40581 h 528"/>
                <a:gd name="T40" fmla="*/ 132786 w 845"/>
                <a:gd name="T41" fmla="*/ 48697 h 528"/>
                <a:gd name="T42" fmla="*/ 132116 w 845"/>
                <a:gd name="T43" fmla="*/ 49434 h 528"/>
                <a:gd name="T44" fmla="*/ 132786 w 845"/>
                <a:gd name="T45" fmla="*/ 52386 h 528"/>
                <a:gd name="T46" fmla="*/ 116691 w 845"/>
                <a:gd name="T47" fmla="*/ 57551 h 528"/>
                <a:gd name="T48" fmla="*/ 82488 w 845"/>
                <a:gd name="T49" fmla="*/ 90015 h 528"/>
                <a:gd name="T50" fmla="*/ 75782 w 845"/>
                <a:gd name="T51" fmla="*/ 87801 h 528"/>
                <a:gd name="T52" fmla="*/ 59687 w 845"/>
                <a:gd name="T53" fmla="*/ 97393 h 528"/>
                <a:gd name="T54" fmla="*/ 30179 w 845"/>
                <a:gd name="T55" fmla="*/ 82637 h 528"/>
                <a:gd name="T56" fmla="*/ 28167 w 845"/>
                <a:gd name="T57" fmla="*/ 75258 h 528"/>
                <a:gd name="T58" fmla="*/ 18107 w 845"/>
                <a:gd name="T59" fmla="*/ 91491 h 528"/>
                <a:gd name="T60" fmla="*/ 12742 w 845"/>
                <a:gd name="T61" fmla="*/ 82637 h 528"/>
                <a:gd name="T62" fmla="*/ 6706 w 845"/>
                <a:gd name="T63" fmla="*/ 87801 h 528"/>
                <a:gd name="T64" fmla="*/ 0 w 845"/>
                <a:gd name="T65" fmla="*/ 79685 h 528"/>
                <a:gd name="T66" fmla="*/ 0 w 845"/>
                <a:gd name="T67" fmla="*/ 78948 h 5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845"/>
                <a:gd name="T103" fmla="*/ 0 h 528"/>
                <a:gd name="T104" fmla="*/ 845 w 845"/>
                <a:gd name="T105" fmla="*/ 528 h 5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845" h="528">
                  <a:moveTo>
                    <a:pt x="0" y="430"/>
                  </a:moveTo>
                  <a:lnTo>
                    <a:pt x="18" y="380"/>
                  </a:lnTo>
                  <a:lnTo>
                    <a:pt x="68" y="347"/>
                  </a:lnTo>
                  <a:lnTo>
                    <a:pt x="43" y="280"/>
                  </a:lnTo>
                  <a:lnTo>
                    <a:pt x="58" y="213"/>
                  </a:lnTo>
                  <a:lnTo>
                    <a:pt x="110" y="246"/>
                  </a:lnTo>
                  <a:lnTo>
                    <a:pt x="204" y="190"/>
                  </a:lnTo>
                  <a:lnTo>
                    <a:pt x="265" y="190"/>
                  </a:lnTo>
                  <a:lnTo>
                    <a:pt x="269" y="92"/>
                  </a:lnTo>
                  <a:lnTo>
                    <a:pt x="346" y="102"/>
                  </a:lnTo>
                  <a:lnTo>
                    <a:pt x="369" y="54"/>
                  </a:lnTo>
                  <a:lnTo>
                    <a:pt x="419" y="36"/>
                  </a:lnTo>
                  <a:lnTo>
                    <a:pt x="528" y="82"/>
                  </a:lnTo>
                  <a:lnTo>
                    <a:pt x="582" y="10"/>
                  </a:lnTo>
                  <a:lnTo>
                    <a:pt x="632" y="0"/>
                  </a:lnTo>
                  <a:lnTo>
                    <a:pt x="640" y="50"/>
                  </a:lnTo>
                  <a:lnTo>
                    <a:pt x="701" y="59"/>
                  </a:lnTo>
                  <a:lnTo>
                    <a:pt x="720" y="111"/>
                  </a:lnTo>
                  <a:lnTo>
                    <a:pt x="818" y="163"/>
                  </a:lnTo>
                  <a:lnTo>
                    <a:pt x="845" y="223"/>
                  </a:lnTo>
                  <a:lnTo>
                    <a:pt x="793" y="263"/>
                  </a:lnTo>
                  <a:lnTo>
                    <a:pt x="791" y="269"/>
                  </a:lnTo>
                  <a:lnTo>
                    <a:pt x="795" y="286"/>
                  </a:lnTo>
                  <a:lnTo>
                    <a:pt x="697" y="313"/>
                  </a:lnTo>
                  <a:lnTo>
                    <a:pt x="494" y="489"/>
                  </a:lnTo>
                  <a:lnTo>
                    <a:pt x="452" y="476"/>
                  </a:lnTo>
                  <a:lnTo>
                    <a:pt x="359" y="528"/>
                  </a:lnTo>
                  <a:lnTo>
                    <a:pt x="181" y="449"/>
                  </a:lnTo>
                  <a:lnTo>
                    <a:pt x="169" y="411"/>
                  </a:lnTo>
                  <a:lnTo>
                    <a:pt x="110" y="497"/>
                  </a:lnTo>
                  <a:lnTo>
                    <a:pt x="77" y="451"/>
                  </a:lnTo>
                  <a:lnTo>
                    <a:pt x="41" y="476"/>
                  </a:lnTo>
                  <a:lnTo>
                    <a:pt x="0" y="432"/>
                  </a:lnTo>
                  <a:lnTo>
                    <a:pt x="0" y="430"/>
                  </a:lnTo>
                  <a:close/>
                </a:path>
              </a:pathLst>
            </a:custGeom>
            <a:solidFill>
              <a:srgbClr val="92D050"/>
            </a:solidFill>
            <a:ln w="9525">
              <a:solidFill>
                <a:srgbClr val="92D050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</p:grpSp>
      <p:sp>
        <p:nvSpPr>
          <p:cNvPr id="228" name="Rettangolo 20"/>
          <p:cNvSpPr>
            <a:spLocks noChangeArrowheads="1"/>
          </p:cNvSpPr>
          <p:nvPr/>
        </p:nvSpPr>
        <p:spPr bwMode="auto">
          <a:xfrm>
            <a:off x="158750" y="1596494"/>
            <a:ext cx="3750207" cy="24079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 defTabSz="889000"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1400" b="1" dirty="0">
                <a:solidFill>
                  <a:srgbClr val="706F6F"/>
                </a:solidFill>
                <a:latin typeface="+mj-lt"/>
                <a:cs typeface="Calibri" panose="020F0502020204030204" pitchFamily="34" charset="0"/>
              </a:rPr>
              <a:t>ATTUALE</a:t>
            </a:r>
          </a:p>
        </p:txBody>
      </p:sp>
      <p:sp>
        <p:nvSpPr>
          <p:cNvPr id="229" name="Rettangolo 20"/>
          <p:cNvSpPr>
            <a:spLocks noChangeArrowheads="1"/>
          </p:cNvSpPr>
          <p:nvPr/>
        </p:nvSpPr>
        <p:spPr bwMode="auto">
          <a:xfrm>
            <a:off x="4738391" y="1605113"/>
            <a:ext cx="3861260" cy="24079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 defTabSz="889000"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1400" b="1" dirty="0">
                <a:solidFill>
                  <a:srgbClr val="706F6F"/>
                </a:solidFill>
                <a:latin typeface="+mj-lt"/>
                <a:cs typeface="Calibri" panose="020F0502020204030204" pitchFamily="34" charset="0"/>
              </a:rPr>
              <a:t>RETE FUTURA</a:t>
            </a:r>
          </a:p>
        </p:txBody>
      </p:sp>
      <p:sp>
        <p:nvSpPr>
          <p:cNvPr id="236" name="Rectangle 533"/>
          <p:cNvSpPr>
            <a:spLocks noChangeArrowheads="1"/>
          </p:cNvSpPr>
          <p:nvPr/>
        </p:nvSpPr>
        <p:spPr bwMode="auto">
          <a:xfrm>
            <a:off x="4786821" y="3284406"/>
            <a:ext cx="1879805" cy="639693"/>
          </a:xfrm>
          <a:prstGeom prst="rect">
            <a:avLst/>
          </a:prstGeom>
          <a:noFill/>
          <a:ln w="9525" algn="ctr">
            <a:solidFill>
              <a:srgbClr val="FF9900"/>
            </a:solidFill>
            <a:prstDash val="lgDash"/>
            <a:round/>
            <a:headEnd/>
            <a:tailEnd/>
          </a:ln>
        </p:spPr>
        <p:txBody>
          <a:bodyPr tIns="91440" bIns="91440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defTabSz="889000"/>
            <a:endParaRPr lang="en-US" sz="1200">
              <a:solidFill>
                <a:srgbClr val="0047A9"/>
              </a:solidFill>
              <a:latin typeface="+mj-lt"/>
              <a:cs typeface="Calibri" panose="020F0502020204030204" pitchFamily="34" charset="0"/>
            </a:endParaRPr>
          </a:p>
        </p:txBody>
      </p:sp>
      <p:grpSp>
        <p:nvGrpSpPr>
          <p:cNvPr id="235" name="Gruppo 234"/>
          <p:cNvGrpSpPr/>
          <p:nvPr/>
        </p:nvGrpSpPr>
        <p:grpSpPr>
          <a:xfrm>
            <a:off x="7914932" y="2444774"/>
            <a:ext cx="877785" cy="2435969"/>
            <a:chOff x="7914932" y="1462931"/>
            <a:chExt cx="877785" cy="2435969"/>
          </a:xfrm>
        </p:grpSpPr>
        <p:sp>
          <p:nvSpPr>
            <p:cNvPr id="238" name="Figura a mano libera 237"/>
            <p:cNvSpPr/>
            <p:nvPr/>
          </p:nvSpPr>
          <p:spPr>
            <a:xfrm>
              <a:off x="7914932" y="1462931"/>
              <a:ext cx="877785" cy="2435969"/>
            </a:xfrm>
            <a:custGeom>
              <a:avLst/>
              <a:gdLst>
                <a:gd name="connsiteX0" fmla="*/ 619574 w 944566"/>
                <a:gd name="connsiteY0" fmla="*/ 3919 h 2689969"/>
                <a:gd name="connsiteX1" fmla="*/ 476699 w 944566"/>
                <a:gd name="connsiteY1" fmla="*/ 51544 h 2689969"/>
                <a:gd name="connsiteX2" fmla="*/ 257624 w 944566"/>
                <a:gd name="connsiteY2" fmla="*/ 365869 h 2689969"/>
                <a:gd name="connsiteX3" fmla="*/ 943424 w 944566"/>
                <a:gd name="connsiteY3" fmla="*/ 546844 h 2689969"/>
                <a:gd name="connsiteX4" fmla="*/ 67124 w 944566"/>
                <a:gd name="connsiteY4" fmla="*/ 813544 h 2689969"/>
                <a:gd name="connsiteX5" fmla="*/ 829124 w 944566"/>
                <a:gd name="connsiteY5" fmla="*/ 1137394 h 2689969"/>
                <a:gd name="connsiteX6" fmla="*/ 67124 w 944566"/>
                <a:gd name="connsiteY6" fmla="*/ 1461244 h 2689969"/>
                <a:gd name="connsiteX7" fmla="*/ 791024 w 944566"/>
                <a:gd name="connsiteY7" fmla="*/ 1813669 h 2689969"/>
                <a:gd name="connsiteX8" fmla="*/ 449 w 944566"/>
                <a:gd name="connsiteY8" fmla="*/ 1975594 h 2689969"/>
                <a:gd name="connsiteX9" fmla="*/ 676724 w 944566"/>
                <a:gd name="connsiteY9" fmla="*/ 2242294 h 2689969"/>
                <a:gd name="connsiteX10" fmla="*/ 619574 w 944566"/>
                <a:gd name="connsiteY10" fmla="*/ 2689969 h 2689969"/>
                <a:gd name="connsiteX0" fmla="*/ 552793 w 877785"/>
                <a:gd name="connsiteY0" fmla="*/ 3919 h 2689969"/>
                <a:gd name="connsiteX1" fmla="*/ 409918 w 877785"/>
                <a:gd name="connsiteY1" fmla="*/ 51544 h 2689969"/>
                <a:gd name="connsiteX2" fmla="*/ 190843 w 877785"/>
                <a:gd name="connsiteY2" fmla="*/ 365869 h 2689969"/>
                <a:gd name="connsiteX3" fmla="*/ 876643 w 877785"/>
                <a:gd name="connsiteY3" fmla="*/ 546844 h 2689969"/>
                <a:gd name="connsiteX4" fmla="*/ 343 w 877785"/>
                <a:gd name="connsiteY4" fmla="*/ 813544 h 2689969"/>
                <a:gd name="connsiteX5" fmla="*/ 762343 w 877785"/>
                <a:gd name="connsiteY5" fmla="*/ 1137394 h 2689969"/>
                <a:gd name="connsiteX6" fmla="*/ 343 w 877785"/>
                <a:gd name="connsiteY6" fmla="*/ 1461244 h 2689969"/>
                <a:gd name="connsiteX7" fmla="*/ 724243 w 877785"/>
                <a:gd name="connsiteY7" fmla="*/ 1813669 h 2689969"/>
                <a:gd name="connsiteX8" fmla="*/ 149568 w 877785"/>
                <a:gd name="connsiteY8" fmla="*/ 1880344 h 2689969"/>
                <a:gd name="connsiteX9" fmla="*/ 609943 w 877785"/>
                <a:gd name="connsiteY9" fmla="*/ 2242294 h 2689969"/>
                <a:gd name="connsiteX10" fmla="*/ 552793 w 877785"/>
                <a:gd name="connsiteY10" fmla="*/ 2689969 h 2689969"/>
                <a:gd name="connsiteX0" fmla="*/ 552793 w 877785"/>
                <a:gd name="connsiteY0" fmla="*/ 3919 h 2435969"/>
                <a:gd name="connsiteX1" fmla="*/ 409918 w 877785"/>
                <a:gd name="connsiteY1" fmla="*/ 51544 h 2435969"/>
                <a:gd name="connsiteX2" fmla="*/ 190843 w 877785"/>
                <a:gd name="connsiteY2" fmla="*/ 365869 h 2435969"/>
                <a:gd name="connsiteX3" fmla="*/ 876643 w 877785"/>
                <a:gd name="connsiteY3" fmla="*/ 546844 h 2435969"/>
                <a:gd name="connsiteX4" fmla="*/ 343 w 877785"/>
                <a:gd name="connsiteY4" fmla="*/ 813544 h 2435969"/>
                <a:gd name="connsiteX5" fmla="*/ 762343 w 877785"/>
                <a:gd name="connsiteY5" fmla="*/ 1137394 h 2435969"/>
                <a:gd name="connsiteX6" fmla="*/ 343 w 877785"/>
                <a:gd name="connsiteY6" fmla="*/ 1461244 h 2435969"/>
                <a:gd name="connsiteX7" fmla="*/ 724243 w 877785"/>
                <a:gd name="connsiteY7" fmla="*/ 1813669 h 2435969"/>
                <a:gd name="connsiteX8" fmla="*/ 149568 w 877785"/>
                <a:gd name="connsiteY8" fmla="*/ 1880344 h 2435969"/>
                <a:gd name="connsiteX9" fmla="*/ 609943 w 877785"/>
                <a:gd name="connsiteY9" fmla="*/ 2242294 h 2435969"/>
                <a:gd name="connsiteX10" fmla="*/ 622643 w 877785"/>
                <a:gd name="connsiteY10" fmla="*/ 2435969 h 2435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77785" h="2435969">
                  <a:moveTo>
                    <a:pt x="552793" y="3919"/>
                  </a:moveTo>
                  <a:cubicBezTo>
                    <a:pt x="511518" y="-2431"/>
                    <a:pt x="470243" y="-8781"/>
                    <a:pt x="409918" y="51544"/>
                  </a:cubicBezTo>
                  <a:cubicBezTo>
                    <a:pt x="349593" y="111869"/>
                    <a:pt x="113055" y="283319"/>
                    <a:pt x="190843" y="365869"/>
                  </a:cubicBezTo>
                  <a:cubicBezTo>
                    <a:pt x="268630" y="448419"/>
                    <a:pt x="908393" y="472232"/>
                    <a:pt x="876643" y="546844"/>
                  </a:cubicBezTo>
                  <a:cubicBezTo>
                    <a:pt x="844893" y="621457"/>
                    <a:pt x="19393" y="715119"/>
                    <a:pt x="343" y="813544"/>
                  </a:cubicBezTo>
                  <a:cubicBezTo>
                    <a:pt x="-18707" y="911969"/>
                    <a:pt x="762343" y="1029444"/>
                    <a:pt x="762343" y="1137394"/>
                  </a:cubicBezTo>
                  <a:cubicBezTo>
                    <a:pt x="762343" y="1245344"/>
                    <a:pt x="6693" y="1348532"/>
                    <a:pt x="343" y="1461244"/>
                  </a:cubicBezTo>
                  <a:cubicBezTo>
                    <a:pt x="-6007" y="1573956"/>
                    <a:pt x="699372" y="1743819"/>
                    <a:pt x="724243" y="1813669"/>
                  </a:cubicBezTo>
                  <a:cubicBezTo>
                    <a:pt x="749114" y="1883519"/>
                    <a:pt x="168618" y="1808907"/>
                    <a:pt x="149568" y="1880344"/>
                  </a:cubicBezTo>
                  <a:cubicBezTo>
                    <a:pt x="130518" y="1951782"/>
                    <a:pt x="531097" y="2149690"/>
                    <a:pt x="609943" y="2242294"/>
                  </a:cubicBezTo>
                  <a:cubicBezTo>
                    <a:pt x="688789" y="2334898"/>
                    <a:pt x="627406" y="2375644"/>
                    <a:pt x="622643" y="2435969"/>
                  </a:cubicBezTo>
                </a:path>
              </a:pathLst>
            </a:custGeom>
            <a:ln w="38100">
              <a:solidFill>
                <a:srgbClr val="FFFF00"/>
              </a:solidFill>
              <a:prstDash val="sysDash"/>
            </a:ln>
          </p:spPr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889000" fontAlgn="base">
                <a:spcBef>
                  <a:spcPct val="50000"/>
                </a:spcBef>
                <a:spcAft>
                  <a:spcPct val="0"/>
                </a:spcAft>
              </a:pPr>
              <a:endParaRPr lang="it-IT" sz="1200">
                <a:solidFill>
                  <a:srgbClr val="0047A9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39" name="Ovale 238"/>
            <p:cNvSpPr/>
            <p:nvPr/>
          </p:nvSpPr>
          <p:spPr>
            <a:xfrm>
              <a:off x="8224037" y="1562585"/>
              <a:ext cx="78694" cy="64676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/>
            </a:p>
          </p:txBody>
        </p:sp>
        <p:sp>
          <p:nvSpPr>
            <p:cNvPr id="240" name="Ovale 239"/>
            <p:cNvSpPr/>
            <p:nvPr/>
          </p:nvSpPr>
          <p:spPr>
            <a:xfrm>
              <a:off x="8438009" y="1881464"/>
              <a:ext cx="78694" cy="64676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/>
            </a:p>
          </p:txBody>
        </p:sp>
        <p:sp>
          <p:nvSpPr>
            <p:cNvPr id="241" name="Ovale 240"/>
            <p:cNvSpPr/>
            <p:nvPr/>
          </p:nvSpPr>
          <p:spPr>
            <a:xfrm>
              <a:off x="8139565" y="2130495"/>
              <a:ext cx="78694" cy="64676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/>
            </a:p>
          </p:txBody>
        </p:sp>
        <p:sp>
          <p:nvSpPr>
            <p:cNvPr id="242" name="Ovale 241"/>
            <p:cNvSpPr/>
            <p:nvPr/>
          </p:nvSpPr>
          <p:spPr>
            <a:xfrm>
              <a:off x="8298366" y="2421243"/>
              <a:ext cx="78694" cy="64676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/>
            </a:p>
          </p:txBody>
        </p:sp>
        <p:sp>
          <p:nvSpPr>
            <p:cNvPr id="243" name="Ovale 242"/>
            <p:cNvSpPr/>
            <p:nvPr/>
          </p:nvSpPr>
          <p:spPr>
            <a:xfrm>
              <a:off x="8241500" y="2739370"/>
              <a:ext cx="78694" cy="64676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/>
            </a:p>
          </p:txBody>
        </p:sp>
        <p:sp>
          <p:nvSpPr>
            <p:cNvPr id="244" name="Ovale 243"/>
            <p:cNvSpPr/>
            <p:nvPr/>
          </p:nvSpPr>
          <p:spPr>
            <a:xfrm>
              <a:off x="8355465" y="3111649"/>
              <a:ext cx="78694" cy="64676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/>
            </a:p>
          </p:txBody>
        </p:sp>
        <p:sp>
          <p:nvSpPr>
            <p:cNvPr id="245" name="Ovale 244"/>
            <p:cNvSpPr/>
            <p:nvPr/>
          </p:nvSpPr>
          <p:spPr>
            <a:xfrm>
              <a:off x="8193535" y="3280549"/>
              <a:ext cx="78694" cy="64676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/>
            </a:p>
          </p:txBody>
        </p:sp>
      </p:grpSp>
      <p:sp>
        <p:nvSpPr>
          <p:cNvPr id="247" name="Title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70247" y="30165"/>
            <a:ext cx="8274050" cy="363535"/>
          </a:xfrm>
          <a:prstGeom prst="rect">
            <a:avLst/>
          </a:prstGeom>
        </p:spPr>
        <p:txBody>
          <a:bodyPr anchor="t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altLang="it-IT" sz="2000" dirty="0"/>
              <a:t>Modello joint delivery</a:t>
            </a:r>
          </a:p>
        </p:txBody>
      </p:sp>
      <p:sp>
        <p:nvSpPr>
          <p:cNvPr id="248" name="Segnaposto testo 6"/>
          <p:cNvSpPr txBox="1">
            <a:spLocks/>
          </p:cNvSpPr>
          <p:nvPr/>
        </p:nvSpPr>
        <p:spPr>
          <a:xfrm>
            <a:off x="196720" y="387872"/>
            <a:ext cx="8563940" cy="3857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indent="0" defTabSz="685800">
              <a:lnSpc>
                <a:spcPct val="90000"/>
              </a:lnSpc>
              <a:spcBef>
                <a:spcPts val="750"/>
              </a:spcBef>
              <a:buClr>
                <a:srgbClr val="707173"/>
              </a:buClr>
              <a:buSzPct val="120000"/>
              <a:buFont typeface="Arial" panose="020B0604020202020204" pitchFamily="34" charset="0"/>
              <a:buNone/>
              <a:defRPr lang="it-IT" sz="1400" cap="all" baseline="0">
                <a:solidFill>
                  <a:schemeClr val="tx2"/>
                </a:solidFill>
              </a:defRPr>
            </a:lvl1pPr>
            <a:lvl2pPr marL="342900" indent="0" defTabSz="685800">
              <a:lnSpc>
                <a:spcPct val="90000"/>
              </a:lnSpc>
              <a:spcBef>
                <a:spcPts val="375"/>
              </a:spcBef>
              <a:buClr>
                <a:schemeClr val="accent4"/>
              </a:buClr>
              <a:buSzPct val="100000"/>
              <a:buFont typeface="Courier New" panose="02070309020205020404" pitchFamily="49" charset="0"/>
              <a:buNone/>
              <a:defRPr lang="it-IT" sz="1350"/>
            </a:lvl2pPr>
            <a:lvl3pPr marL="685800" indent="0" defTabSz="685800">
              <a:lnSpc>
                <a:spcPct val="90000"/>
              </a:lnSpc>
              <a:spcBef>
                <a:spcPts val="375"/>
              </a:spcBef>
              <a:buClr>
                <a:schemeClr val="accent4"/>
              </a:buClr>
              <a:buFont typeface="Arial" panose="020B0604020202020204" pitchFamily="34" charset="0"/>
              <a:buNone/>
              <a:defRPr lang="it-IT" sz="1200"/>
            </a:lvl3pPr>
            <a:lvl4pPr marL="1028700" indent="0" defTabSz="685800">
              <a:lnSpc>
                <a:spcPct val="90000"/>
              </a:lnSpc>
              <a:spcBef>
                <a:spcPts val="375"/>
              </a:spcBef>
              <a:buClr>
                <a:schemeClr val="accent4"/>
              </a:buClr>
              <a:buSzPct val="80000"/>
              <a:buFont typeface="Courier New" panose="02070309020205020404" pitchFamily="49" charset="0"/>
              <a:buNone/>
              <a:defRPr lang="it-IT" sz="1050"/>
            </a:lvl4pPr>
            <a:lvl5pPr marL="1371600" indent="0" defTabSz="685800">
              <a:lnSpc>
                <a:spcPct val="90000"/>
              </a:lnSpc>
              <a:spcBef>
                <a:spcPts val="375"/>
              </a:spcBef>
              <a:buClr>
                <a:srgbClr val="707173"/>
              </a:buClr>
              <a:buSzPct val="60000"/>
              <a:buFont typeface="Arial" panose="020B0604020202020204" pitchFamily="34" charset="0"/>
              <a:buNone/>
              <a:defRPr lang="it-IT" sz="1050"/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r>
              <a:rPr lang="it-IT" dirty="0"/>
              <a:t>Modello di funzionamento </a:t>
            </a:r>
            <a:r>
              <a:rPr lang="it-IT" dirty="0" err="1"/>
              <a:t>milano</a:t>
            </a:r>
            <a:r>
              <a:rPr lang="it-IT" dirty="0"/>
              <a:t> </a:t>
            </a:r>
            <a:r>
              <a:rPr lang="it-IT" dirty="0" err="1"/>
              <a:t>roma</a:t>
            </a:r>
            <a:r>
              <a:rPr lang="it-IT" dirty="0"/>
              <a:t> e </a:t>
            </a:r>
            <a:r>
              <a:rPr lang="it-IT" dirty="0" err="1"/>
              <a:t>napoli</a:t>
            </a:r>
            <a:endParaRPr lang="it-IT" dirty="0"/>
          </a:p>
        </p:txBody>
      </p:sp>
      <p:pic>
        <p:nvPicPr>
          <p:cNvPr id="220" name="clipart_miscellaneous_contracts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119559" y="3406324"/>
            <a:ext cx="219526" cy="210230"/>
          </a:xfrm>
          <a:prstGeom prst="rect">
            <a:avLst/>
          </a:prstGeom>
          <a:solidFill>
            <a:srgbClr val="9C3328"/>
          </a:solidFill>
          <a:ln w="9525">
            <a:noFill/>
            <a:miter lim="800000"/>
            <a:headEnd/>
            <a:tailEnd/>
          </a:ln>
        </p:spPr>
      </p:pic>
      <p:sp>
        <p:nvSpPr>
          <p:cNvPr id="221" name="TextBox 518"/>
          <p:cNvSpPr txBox="1"/>
          <p:nvPr/>
        </p:nvSpPr>
        <p:spPr bwMode="auto">
          <a:xfrm>
            <a:off x="5934814" y="3516218"/>
            <a:ext cx="942974" cy="458757"/>
          </a:xfrm>
          <a:prstGeom prst="rect">
            <a:avLst/>
          </a:prstGeom>
          <a:noFill/>
        </p:spPr>
        <p:txBody>
          <a:bodyPr tIns="90000" bIns="90000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 err="1">
                <a:latin typeface="+mj-lt"/>
                <a:cs typeface="Calibri" panose="020F0502020204030204" pitchFamily="34" charset="0"/>
              </a:rPr>
              <a:t>Cartelle</a:t>
            </a:r>
            <a:r>
              <a:rPr lang="en-GB" sz="900" dirty="0">
                <a:latin typeface="+mj-lt"/>
                <a:cs typeface="Calibri" panose="020F0502020204030204" pitchFamily="34" charset="0"/>
              </a:rPr>
              <a:t> </a:t>
            </a:r>
            <a:r>
              <a:rPr lang="en-GB" sz="900" dirty="0" err="1">
                <a:latin typeface="+mj-lt"/>
                <a:cs typeface="Calibri" panose="020F0502020204030204" pitchFamily="34" charset="0"/>
              </a:rPr>
              <a:t>esattoriali</a:t>
            </a:r>
            <a:endParaRPr lang="en-GB" sz="900" dirty="0">
              <a:latin typeface="+mj-lt"/>
              <a:cs typeface="Calibri" panose="020F0502020204030204" pitchFamily="34" charset="0"/>
            </a:endParaRPr>
          </a:p>
        </p:txBody>
      </p:sp>
      <p:sp>
        <p:nvSpPr>
          <p:cNvPr id="222" name="TextBox 550"/>
          <p:cNvSpPr txBox="1"/>
          <p:nvPr/>
        </p:nvSpPr>
        <p:spPr bwMode="auto">
          <a:xfrm>
            <a:off x="4759055" y="3246688"/>
            <a:ext cx="1983414" cy="107722"/>
          </a:xfrm>
          <a:prstGeom prst="rect">
            <a:avLst/>
          </a:prstGeom>
          <a:solidFill>
            <a:srgbClr val="FF9900"/>
          </a:solidFill>
          <a:ln>
            <a:solidFill>
              <a:srgbClr val="F4E601"/>
            </a:solidFill>
          </a:ln>
        </p:spPr>
        <p:txBody>
          <a:bodyPr wrap="square" lIns="0" tIns="0" rIns="0" bIns="0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rgbClr val="000000"/>
                </a:solidFill>
                <a:latin typeface="+mj-lt"/>
                <a:cs typeface="Calibri" panose="020F0502020204030204" pitchFamily="34" charset="0"/>
              </a:rPr>
              <a:t>Posta </a:t>
            </a:r>
            <a:r>
              <a:rPr lang="en-GB" sz="700" dirty="0" err="1">
                <a:solidFill>
                  <a:srgbClr val="000000"/>
                </a:solidFill>
                <a:latin typeface="+mj-lt"/>
                <a:cs typeface="Calibri" panose="020F0502020204030204" pitchFamily="34" charset="0"/>
              </a:rPr>
              <a:t>Descritta</a:t>
            </a:r>
            <a:r>
              <a:rPr lang="en-GB" sz="700" dirty="0">
                <a:solidFill>
                  <a:srgbClr val="000000"/>
                </a:solidFill>
                <a:latin typeface="+mj-lt"/>
                <a:cs typeface="Calibri" panose="020F0502020204030204" pitchFamily="34" charset="0"/>
              </a:rPr>
              <a:t>, </a:t>
            </a:r>
            <a:r>
              <a:rPr lang="en-GB" sz="700" dirty="0" err="1">
                <a:solidFill>
                  <a:srgbClr val="000000"/>
                </a:solidFill>
                <a:latin typeface="+mj-lt"/>
                <a:cs typeface="Calibri" panose="020F0502020204030204" pitchFamily="34" charset="0"/>
              </a:rPr>
              <a:t>Pacchi</a:t>
            </a:r>
            <a:r>
              <a:rPr lang="en-GB" sz="700" dirty="0">
                <a:solidFill>
                  <a:srgbClr val="000000"/>
                </a:solidFill>
                <a:latin typeface="+mj-lt"/>
                <a:cs typeface="Calibri" panose="020F0502020204030204" pitchFamily="34" charset="0"/>
              </a:rPr>
              <a:t> e </a:t>
            </a:r>
            <a:r>
              <a:rPr lang="en-GB" sz="700" dirty="0" err="1">
                <a:solidFill>
                  <a:srgbClr val="000000"/>
                </a:solidFill>
                <a:latin typeface="+mj-lt"/>
                <a:cs typeface="Calibri" panose="020F0502020204030204" pitchFamily="34" charset="0"/>
              </a:rPr>
              <a:t>Cartelle</a:t>
            </a:r>
            <a:r>
              <a:rPr lang="en-GB" sz="700" dirty="0">
                <a:solidFill>
                  <a:srgbClr val="000000"/>
                </a:solidFill>
                <a:latin typeface="+mj-lt"/>
                <a:cs typeface="Calibri" panose="020F0502020204030204" pitchFamily="34" charset="0"/>
              </a:rPr>
              <a:t> </a:t>
            </a:r>
            <a:r>
              <a:rPr lang="en-GB" sz="700" dirty="0" err="1">
                <a:solidFill>
                  <a:srgbClr val="000000"/>
                </a:solidFill>
                <a:latin typeface="+mj-lt"/>
                <a:cs typeface="Calibri" panose="020F0502020204030204" pitchFamily="34" charset="0"/>
              </a:rPr>
              <a:t>Esattoriali</a:t>
            </a:r>
            <a:endParaRPr lang="en-GB" sz="700" dirty="0">
              <a:solidFill>
                <a:srgbClr val="000000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2" name="Rettangolo 1"/>
          <p:cNvSpPr/>
          <p:nvPr/>
        </p:nvSpPr>
        <p:spPr>
          <a:xfrm>
            <a:off x="6869771" y="2440494"/>
            <a:ext cx="44114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b="1" dirty="0">
                <a:solidFill>
                  <a:schemeClr val="bg1"/>
                </a:solidFill>
                <a:cs typeface="Calibri" panose="020F0502020204030204" pitchFamily="34" charset="0"/>
                <a:sym typeface="Wingdings" pitchFamily="2" charset="2"/>
              </a:rPr>
              <a:t>3x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234" name="Rettangolo 233"/>
          <p:cNvSpPr/>
          <p:nvPr/>
        </p:nvSpPr>
        <p:spPr>
          <a:xfrm>
            <a:off x="6869771" y="3791058"/>
            <a:ext cx="44114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b="1" dirty="0">
                <a:solidFill>
                  <a:schemeClr val="bg1"/>
                </a:solidFill>
                <a:cs typeface="Calibri" panose="020F0502020204030204" pitchFamily="34" charset="0"/>
                <a:sym typeface="Wingdings" pitchFamily="2" charset="2"/>
              </a:rPr>
              <a:t>2x</a:t>
            </a:r>
            <a:endParaRPr lang="it-IT" dirty="0">
              <a:solidFill>
                <a:schemeClr val="bg1"/>
              </a:solidFill>
            </a:endParaRPr>
          </a:p>
        </p:txBody>
      </p:sp>
      <p:pic>
        <p:nvPicPr>
          <p:cNvPr id="223" name="Picture 4" descr="http://www.ocbf.ca/2012/sites/default/files/img/chrishome/mail.jpg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6882463" y="4093637"/>
            <a:ext cx="351342" cy="447677"/>
          </a:xfrm>
          <a:prstGeom prst="rect">
            <a:avLst/>
          </a:prstGeom>
          <a:noFill/>
          <a:ln w="9525">
            <a:solidFill>
              <a:schemeClr val="tx1">
                <a:lumMod val="60000"/>
                <a:lumOff val="40000"/>
              </a:schemeClr>
            </a:solidFill>
            <a:miter lim="800000"/>
            <a:headEnd/>
            <a:tailEnd/>
          </a:ln>
        </p:spPr>
      </p:pic>
      <p:grpSp>
        <p:nvGrpSpPr>
          <p:cNvPr id="225" name="Group 525"/>
          <p:cNvGrpSpPr>
            <a:grpSpLocks/>
          </p:cNvGrpSpPr>
          <p:nvPr/>
        </p:nvGrpSpPr>
        <p:grpSpPr bwMode="auto">
          <a:xfrm>
            <a:off x="4786821" y="4899425"/>
            <a:ext cx="704850" cy="345007"/>
            <a:chOff x="674263" y="2211573"/>
            <a:chExt cx="754062" cy="374555"/>
          </a:xfrm>
        </p:grpSpPr>
        <p:grpSp>
          <p:nvGrpSpPr>
            <p:cNvPr id="226" name="Group 64"/>
            <p:cNvGrpSpPr>
              <a:grpSpLocks/>
            </p:cNvGrpSpPr>
            <p:nvPr/>
          </p:nvGrpSpPr>
          <p:grpSpPr bwMode="auto">
            <a:xfrm>
              <a:off x="825412" y="2211573"/>
              <a:ext cx="462786" cy="327241"/>
              <a:chOff x="1394396" y="4584584"/>
              <a:chExt cx="995605" cy="720000"/>
            </a:xfrm>
          </p:grpSpPr>
          <p:pic>
            <p:nvPicPr>
              <p:cNvPr id="237" name="Picture 541" descr="mail_ap_icon.png"/>
              <p:cNvPicPr>
                <a:picLocks noChangeAspect="1"/>
              </p:cNvPicPr>
              <p:nvPr/>
            </p:nvPicPr>
            <p:blipFill>
              <a:blip r:embed="rId10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670001" y="4584584"/>
                <a:ext cx="720000" cy="72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246" name="Straight Connector 542"/>
              <p:cNvCxnSpPr/>
              <p:nvPr/>
            </p:nvCxnSpPr>
            <p:spPr>
              <a:xfrm flipH="1">
                <a:off x="1394396" y="4823793"/>
                <a:ext cx="361715" cy="0"/>
              </a:xfrm>
              <a:prstGeom prst="line">
                <a:avLst/>
              </a:prstGeom>
              <a:ln w="57150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9" name="Straight Connector 543"/>
              <p:cNvCxnSpPr/>
              <p:nvPr/>
            </p:nvCxnSpPr>
            <p:spPr>
              <a:xfrm flipH="1">
                <a:off x="1467469" y="4941346"/>
                <a:ext cx="288642" cy="0"/>
              </a:xfrm>
              <a:prstGeom prst="line">
                <a:avLst/>
              </a:prstGeom>
              <a:ln w="57150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0" name="Straight Connector 544"/>
              <p:cNvCxnSpPr/>
              <p:nvPr/>
            </p:nvCxnSpPr>
            <p:spPr>
              <a:xfrm flipH="1">
                <a:off x="1536890" y="5055106"/>
                <a:ext cx="219221" cy="0"/>
              </a:xfrm>
              <a:prstGeom prst="line">
                <a:avLst/>
              </a:prstGeom>
              <a:ln w="57150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0" name="TextBox 540"/>
            <p:cNvSpPr txBox="1"/>
            <p:nvPr/>
          </p:nvSpPr>
          <p:spPr>
            <a:xfrm>
              <a:off x="674263" y="2435767"/>
              <a:ext cx="754062" cy="150361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dirty="0" err="1">
                  <a:latin typeface="+mj-lt"/>
                  <a:cs typeface="Calibri" panose="020F0502020204030204" pitchFamily="34" charset="0"/>
                </a:rPr>
                <a:t>Prioritaria</a:t>
              </a:r>
              <a:endParaRPr lang="en-GB" sz="900" dirty="0">
                <a:latin typeface="+mj-lt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6842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6434" name="Oggetto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62" name="Diapositiva think-cell" r:id="rId6" imgW="360" imgH="360" progId="TCLayout.ActiveDocument.1">
                  <p:embed/>
                </p:oleObj>
              </mc:Choice>
              <mc:Fallback>
                <p:oleObj name="Diapositiva think-cell" r:id="rId6" imgW="360" imgH="360" progId="TCLayout.ActiveDocument.1">
                  <p:embed/>
                  <p:pic>
                    <p:nvPicPr>
                      <p:cNvPr id="146434" name="Oggetto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ight Arrow 227"/>
          <p:cNvSpPr/>
          <p:nvPr/>
        </p:nvSpPr>
        <p:spPr>
          <a:xfrm>
            <a:off x="2224036" y="2756929"/>
            <a:ext cx="628650" cy="303212"/>
          </a:xfrm>
          <a:prstGeom prst="rightArrow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0000" bIns="90000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endParaRPr lang="it-IT" sz="1200" dirty="0">
              <a:solidFill>
                <a:srgbClr val="000000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44" name="Rectangle 236"/>
          <p:cNvSpPr>
            <a:spLocks noChangeArrowheads="1"/>
          </p:cNvSpPr>
          <p:nvPr/>
        </p:nvSpPr>
        <p:spPr bwMode="auto">
          <a:xfrm>
            <a:off x="6824371" y="4437486"/>
            <a:ext cx="574627" cy="238647"/>
          </a:xfrm>
          <a:prstGeom prst="rect">
            <a:avLst/>
          </a:prstGeom>
          <a:solidFill>
            <a:srgbClr val="F4E601"/>
          </a:solidFill>
          <a:ln w="9525" algn="ctr">
            <a:solidFill>
              <a:srgbClr val="F4E601"/>
            </a:solidFill>
            <a:round/>
            <a:headEnd/>
            <a:tailEnd/>
          </a:ln>
        </p:spPr>
        <p:txBody>
          <a:bodyPr lIns="0" tIns="91439" rIns="0" bIns="91439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defTabSz="889000"/>
            <a:r>
              <a:rPr lang="it-IT" sz="700" b="1" dirty="0">
                <a:latin typeface="+mj-lt"/>
                <a:cs typeface="Calibri" panose="020F0502020204030204" pitchFamily="34" charset="0"/>
              </a:rPr>
              <a:t>Linea “Business"</a:t>
            </a:r>
            <a:endParaRPr lang="en-US" sz="700" b="1" dirty="0">
              <a:latin typeface="+mj-lt"/>
              <a:cs typeface="Calibri" panose="020F0502020204030204" pitchFamily="34" charset="0"/>
            </a:endParaRPr>
          </a:p>
        </p:txBody>
      </p:sp>
      <p:sp>
        <p:nvSpPr>
          <p:cNvPr id="45" name="Rectangle 240"/>
          <p:cNvSpPr>
            <a:spLocks noChangeArrowheads="1"/>
          </p:cNvSpPr>
          <p:nvPr/>
        </p:nvSpPr>
        <p:spPr bwMode="auto">
          <a:xfrm>
            <a:off x="-20348" y="785231"/>
            <a:ext cx="1622084" cy="244475"/>
          </a:xfrm>
          <a:prstGeom prst="rect">
            <a:avLst/>
          </a:prstGeom>
          <a:solidFill>
            <a:srgbClr val="CEA09D"/>
          </a:solidFill>
          <a:ln w="9525" algn="ctr">
            <a:solidFill>
              <a:srgbClr val="CEA09D"/>
            </a:solidFill>
            <a:round/>
            <a:headEnd/>
            <a:tailEnd/>
          </a:ln>
        </p:spPr>
        <p:txBody>
          <a:bodyPr tIns="91440" bIns="91440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defTabSz="889000"/>
            <a:r>
              <a:rPr lang="it-IT" b="1" dirty="0">
                <a:solidFill>
                  <a:srgbClr val="FFFFFF"/>
                </a:solidFill>
                <a:latin typeface="Calibri" pitchFamily="34" charset="0"/>
                <a:cs typeface="Calibri" panose="020F0502020204030204" pitchFamily="34" charset="0"/>
              </a:rPr>
              <a:t>Illustrativo</a:t>
            </a:r>
            <a:endParaRPr lang="en-US" b="1" dirty="0">
              <a:solidFill>
                <a:srgbClr val="FFFFFF"/>
              </a:solidFill>
              <a:latin typeface="Calibri" pitchFamily="34" charset="0"/>
              <a:cs typeface="Calibri" panose="020F0502020204030204" pitchFamily="34" charset="0"/>
            </a:endParaRPr>
          </a:p>
        </p:txBody>
      </p:sp>
      <p:sp>
        <p:nvSpPr>
          <p:cNvPr id="46" name="AutoShape 4"/>
          <p:cNvSpPr>
            <a:spLocks noChangeArrowheads="1"/>
          </p:cNvSpPr>
          <p:nvPr/>
        </p:nvSpPr>
        <p:spPr bwMode="gray">
          <a:xfrm rot="5400000">
            <a:off x="3081766" y="3442308"/>
            <a:ext cx="2957173" cy="158750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endParaRPr lang="it-IT" sz="1200" b="1">
              <a:solidFill>
                <a:srgbClr val="000000"/>
              </a:solidFill>
              <a:latin typeface="+mj-lt"/>
              <a:cs typeface="Calibri" panose="020F0502020204030204" pitchFamily="34" charset="0"/>
            </a:endParaRPr>
          </a:p>
        </p:txBody>
      </p:sp>
      <p:grpSp>
        <p:nvGrpSpPr>
          <p:cNvPr id="47" name="Group 478"/>
          <p:cNvGrpSpPr>
            <a:grpSpLocks/>
          </p:cNvGrpSpPr>
          <p:nvPr/>
        </p:nvGrpSpPr>
        <p:grpSpPr bwMode="auto">
          <a:xfrm>
            <a:off x="2212923" y="3739591"/>
            <a:ext cx="628650" cy="420688"/>
            <a:chOff x="1967026" y="3891516"/>
            <a:chExt cx="628893" cy="420921"/>
          </a:xfrm>
        </p:grpSpPr>
        <p:sp>
          <p:nvSpPr>
            <p:cNvPr id="48" name="Right Arrow 475"/>
            <p:cNvSpPr/>
            <p:nvPr/>
          </p:nvSpPr>
          <p:spPr>
            <a:xfrm>
              <a:off x="1967026" y="3950287"/>
              <a:ext cx="628893" cy="303380"/>
            </a:xfrm>
            <a:prstGeom prst="rightArrow">
              <a:avLst/>
            </a:prstGeom>
            <a:solidFill>
              <a:schemeClr val="bg2"/>
            </a:solidFill>
            <a:ln w="9525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90000" bIns="90000" anchor="ctr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it-IT" sz="1200" dirty="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pic>
          <p:nvPicPr>
            <p:cNvPr id="49" name="Picture 3" descr="D:\LocalData\TrimnellR\My Documents\My Pictures\truck_ap_icon.png"/>
            <p:cNvPicPr>
              <a:picLocks noChangeArrowheads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009553" y="3891516"/>
              <a:ext cx="414235" cy="420921"/>
            </a:xfrm>
            <a:prstGeom prst="rect">
              <a:avLst/>
            </a:prstGeom>
            <a:noFill/>
            <a:ln w="9525">
              <a:solidFill>
                <a:schemeClr val="tx1">
                  <a:lumMod val="60000"/>
                  <a:lumOff val="40000"/>
                </a:schemeClr>
              </a:solidFill>
              <a:miter lim="800000"/>
              <a:headEnd/>
              <a:tailEnd/>
            </a:ln>
          </p:spPr>
        </p:pic>
      </p:grpSp>
      <p:grpSp>
        <p:nvGrpSpPr>
          <p:cNvPr id="50" name="Group 494"/>
          <p:cNvGrpSpPr>
            <a:grpSpLocks/>
          </p:cNvGrpSpPr>
          <p:nvPr/>
        </p:nvGrpSpPr>
        <p:grpSpPr bwMode="auto">
          <a:xfrm>
            <a:off x="182511" y="2198141"/>
            <a:ext cx="2030412" cy="1339851"/>
            <a:chOff x="138223" y="1754648"/>
            <a:chExt cx="2030816" cy="1339432"/>
          </a:xfrm>
        </p:grpSpPr>
        <p:sp>
          <p:nvSpPr>
            <p:cNvPr id="51" name="Rectangle 223"/>
            <p:cNvSpPr>
              <a:spLocks noChangeArrowheads="1"/>
            </p:cNvSpPr>
            <p:nvPr/>
          </p:nvSpPr>
          <p:spPr bwMode="auto">
            <a:xfrm>
              <a:off x="138223" y="1754648"/>
              <a:ext cx="2009554" cy="323064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r>
                <a:rPr lang="en-GB" sz="1050" b="1" dirty="0" err="1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Articolazione</a:t>
              </a:r>
              <a:r>
                <a:rPr lang="en-GB" sz="1050" b="1" dirty="0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 </a:t>
              </a:r>
              <a:r>
                <a:rPr lang="en-GB" sz="1050" b="1" dirty="0" err="1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Universale</a:t>
              </a:r>
              <a:endParaRPr lang="en-GB" sz="1050" b="1" dirty="0">
                <a:solidFill>
                  <a:srgbClr val="FFFFFF"/>
                </a:solidFill>
                <a:latin typeface="+mj-lt"/>
                <a:cs typeface="Calibri" panose="020F0502020204030204" pitchFamily="34" charset="0"/>
              </a:endParaRPr>
            </a:p>
            <a:p>
              <a:pPr algn="ctr"/>
              <a:r>
                <a:rPr lang="en-GB" sz="1050" b="1" dirty="0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(</a:t>
              </a:r>
              <a:r>
                <a:rPr lang="en-GB" sz="1050" b="1" dirty="0" err="1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recapito</a:t>
              </a:r>
              <a:r>
                <a:rPr lang="en-GB" sz="1050" b="1" dirty="0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 </a:t>
              </a:r>
              <a:r>
                <a:rPr lang="en-GB" sz="1050" b="1" dirty="0" err="1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quotidiano</a:t>
              </a:r>
              <a:r>
                <a:rPr lang="en-GB" sz="1050" b="1" dirty="0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)</a:t>
              </a:r>
            </a:p>
          </p:txBody>
        </p:sp>
        <p:pic>
          <p:nvPicPr>
            <p:cNvPr id="52" name="Picture 3" descr="C:\Users\Vijayakumar Shruthi\AppData\Local\Microsoft\Windows\Temporary Internet Files\Content.Outlook\GVZR9D97\parcel_ap_icon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937069" y="2553226"/>
              <a:ext cx="286836" cy="2976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8" name="TextBox 71"/>
            <p:cNvSpPr txBox="1"/>
            <p:nvPr/>
          </p:nvSpPr>
          <p:spPr>
            <a:xfrm>
              <a:off x="781288" y="2697329"/>
              <a:ext cx="606546" cy="320157"/>
            </a:xfrm>
            <a:prstGeom prst="rect">
              <a:avLst/>
            </a:prstGeom>
            <a:noFill/>
          </p:spPr>
          <p:txBody>
            <a:bodyPr tIns="90000" bIns="90000">
              <a:sp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dirty="0" err="1">
                  <a:latin typeface="+mj-lt"/>
                  <a:cs typeface="Calibri" panose="020F0502020204030204" pitchFamily="34" charset="0"/>
                </a:rPr>
                <a:t>Pacchi</a:t>
              </a:r>
              <a:endParaRPr lang="en-GB" sz="900" dirty="0">
                <a:latin typeface="+mj-lt"/>
                <a:cs typeface="Calibri" panose="020F0502020204030204" pitchFamily="34" charset="0"/>
              </a:endParaRPr>
            </a:p>
          </p:txBody>
        </p:sp>
        <p:grpSp>
          <p:nvGrpSpPr>
            <p:cNvPr id="89" name="Group 472"/>
            <p:cNvGrpSpPr>
              <a:grpSpLocks/>
            </p:cNvGrpSpPr>
            <p:nvPr/>
          </p:nvGrpSpPr>
          <p:grpSpPr bwMode="auto">
            <a:xfrm>
              <a:off x="446259" y="2211575"/>
              <a:ext cx="706578" cy="344899"/>
              <a:chOff x="329499" y="2211573"/>
              <a:chExt cx="755759" cy="374555"/>
            </a:xfrm>
          </p:grpSpPr>
          <p:grpSp>
            <p:nvGrpSpPr>
              <p:cNvPr id="103" name="Group 64"/>
              <p:cNvGrpSpPr>
                <a:grpSpLocks/>
              </p:cNvGrpSpPr>
              <p:nvPr/>
            </p:nvGrpSpPr>
            <p:grpSpPr bwMode="auto">
              <a:xfrm>
                <a:off x="480650" y="2211573"/>
                <a:ext cx="463704" cy="327241"/>
                <a:chOff x="652699" y="4584584"/>
                <a:chExt cx="997579" cy="720000"/>
              </a:xfrm>
            </p:grpSpPr>
            <p:pic>
              <p:nvPicPr>
                <p:cNvPr id="105" name="Picture 74" descr="mail_ap_icon.png"/>
                <p:cNvPicPr>
                  <a:picLocks noChangeAspect="1"/>
                </p:cNvPicPr>
                <p:nvPr/>
              </p:nvPicPr>
              <p:blipFill>
                <a:blip r:embed="rId10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rcRect/>
                <a:stretch>
                  <a:fillRect/>
                </a:stretch>
              </p:blipFill>
              <p:spPr bwMode="auto">
                <a:xfrm>
                  <a:off x="930278" y="4584584"/>
                  <a:ext cx="720000" cy="72000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cxnSp>
              <p:nvCxnSpPr>
                <p:cNvPr id="106" name="Straight Connector 75"/>
                <p:cNvCxnSpPr/>
                <p:nvPr/>
              </p:nvCxnSpPr>
              <p:spPr>
                <a:xfrm flipH="1">
                  <a:off x="652699" y="4823793"/>
                  <a:ext cx="361716" cy="0"/>
                </a:xfrm>
                <a:prstGeom prst="line">
                  <a:avLst/>
                </a:prstGeom>
                <a:ln w="57150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" name="Straight Connector 76"/>
                <p:cNvCxnSpPr/>
                <p:nvPr/>
              </p:nvCxnSpPr>
              <p:spPr>
                <a:xfrm flipH="1">
                  <a:off x="725773" y="4941346"/>
                  <a:ext cx="288642" cy="0"/>
                </a:xfrm>
                <a:prstGeom prst="line">
                  <a:avLst/>
                </a:prstGeom>
                <a:ln w="57150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Straight Connector 77"/>
                <p:cNvCxnSpPr/>
                <p:nvPr/>
              </p:nvCxnSpPr>
              <p:spPr>
                <a:xfrm flipH="1">
                  <a:off x="795194" y="5055106"/>
                  <a:ext cx="219221" cy="0"/>
                </a:xfrm>
                <a:prstGeom prst="line">
                  <a:avLst/>
                </a:prstGeom>
                <a:ln w="57150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04" name="TextBox 78"/>
              <p:cNvSpPr txBox="1"/>
              <p:nvPr/>
            </p:nvSpPr>
            <p:spPr>
              <a:xfrm>
                <a:off x="329499" y="2435767"/>
                <a:ext cx="755759" cy="150361"/>
              </a:xfrm>
              <a:prstGeom prst="rect">
                <a:avLst/>
              </a:prstGeom>
              <a:noFill/>
            </p:spPr>
            <p:txBody>
              <a:bodyPr lIns="0" tIns="0" rIns="0" bIns="0">
                <a:spAutoFit/>
              </a:bodyPr>
              <a:lstStyle>
                <a:defPPr>
                  <a:defRPr lang="en-GB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GB" sz="900" dirty="0" err="1">
                    <a:latin typeface="+mj-lt"/>
                    <a:cs typeface="Calibri" panose="020F0502020204030204" pitchFamily="34" charset="0"/>
                  </a:rPr>
                  <a:t>Prioritaria</a:t>
                </a:r>
                <a:endParaRPr lang="en-GB" sz="900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90" name="Group 471"/>
            <p:cNvGrpSpPr>
              <a:grpSpLocks/>
            </p:cNvGrpSpPr>
            <p:nvPr/>
          </p:nvGrpSpPr>
          <p:grpSpPr bwMode="auto">
            <a:xfrm>
              <a:off x="1044866" y="2247474"/>
              <a:ext cx="773267" cy="313752"/>
              <a:chOff x="884708" y="2208036"/>
              <a:chExt cx="827092" cy="340732"/>
            </a:xfrm>
          </p:grpSpPr>
          <p:pic>
            <p:nvPicPr>
              <p:cNvPr id="100" name="Picture 4" descr="https://www.auspostbrand.com.au/media/17555/mail_ap_icon.png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 l="13157" t="23954" r="13077" b="24618"/>
              <a:stretch>
                <a:fillRect/>
              </a:stretch>
            </p:blipFill>
            <p:spPr bwMode="auto">
              <a:xfrm>
                <a:off x="1183615" y="2267422"/>
                <a:ext cx="249657" cy="168900"/>
              </a:xfrm>
              <a:prstGeom prst="rect">
                <a:avLst/>
              </a:prstGeom>
              <a:solidFill>
                <a:schemeClr val="accent3"/>
              </a:solidFill>
            </p:spPr>
          </p:pic>
          <p:sp>
            <p:nvSpPr>
              <p:cNvPr id="101" name="TextBox 80"/>
              <p:cNvSpPr txBox="1"/>
              <p:nvPr/>
            </p:nvSpPr>
            <p:spPr>
              <a:xfrm>
                <a:off x="884708" y="2398406"/>
                <a:ext cx="827092" cy="150362"/>
              </a:xfrm>
              <a:prstGeom prst="rect">
                <a:avLst/>
              </a:prstGeom>
              <a:noFill/>
            </p:spPr>
            <p:txBody>
              <a:bodyPr lIns="0" tIns="0" rIns="0" bIns="0">
                <a:spAutoFit/>
              </a:bodyPr>
              <a:lstStyle>
                <a:defPPr>
                  <a:defRPr lang="en-GB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GB" sz="900" dirty="0" err="1">
                    <a:latin typeface="+mj-lt"/>
                    <a:cs typeface="Calibri" panose="020F0502020204030204" pitchFamily="34" charset="0"/>
                  </a:rPr>
                  <a:t>Registrata</a:t>
                </a:r>
                <a:endParaRPr lang="en-GB" sz="900" dirty="0">
                  <a:latin typeface="+mj-lt"/>
                  <a:cs typeface="Calibri" panose="020F0502020204030204" pitchFamily="34" charset="0"/>
                </a:endParaRPr>
              </a:p>
            </p:txBody>
          </p:sp>
          <p:pic>
            <p:nvPicPr>
              <p:cNvPr id="102" name="clipart_icons_lockLocked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1226608" y="2208036"/>
                <a:ext cx="162829" cy="1795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pic>
          <p:nvPicPr>
            <p:cNvPr id="91" name="Picture 4" descr="https://www.auspostbrand.com.au/media/17555/mail_ap_icon.png"/>
            <p:cNvPicPr>
              <a:picLocks noChangeAspect="1" noChangeArrowheads="1"/>
            </p:cNvPicPr>
            <p:nvPr/>
          </p:nvPicPr>
          <p:blipFill>
            <a:blip r:embed="rId10" cstate="print"/>
            <a:srcRect l="13157" t="23954" r="13077" b="24618"/>
            <a:stretch>
              <a:fillRect/>
            </a:stretch>
          </p:blipFill>
          <p:spPr bwMode="auto">
            <a:xfrm>
              <a:off x="338288" y="2630675"/>
              <a:ext cx="266753" cy="157113"/>
            </a:xfrm>
            <a:prstGeom prst="rect">
              <a:avLst/>
            </a:prstGeom>
            <a:solidFill>
              <a:schemeClr val="accent3"/>
            </a:solidFill>
          </p:spPr>
        </p:pic>
        <p:pic>
          <p:nvPicPr>
            <p:cNvPr id="92" name="Picture 4" descr="https://www.auspostbrand.com.au/media/17555/mail_ap_icon.png"/>
            <p:cNvPicPr>
              <a:picLocks noChangeAspect="1" noChangeArrowheads="1"/>
            </p:cNvPicPr>
            <p:nvPr/>
          </p:nvPicPr>
          <p:blipFill>
            <a:blip r:embed="rId10" cstate="print"/>
            <a:srcRect l="13157" t="23954" r="13077" b="24618"/>
            <a:stretch>
              <a:fillRect/>
            </a:stretch>
          </p:blipFill>
          <p:spPr bwMode="auto">
            <a:xfrm>
              <a:off x="338288" y="2600521"/>
              <a:ext cx="266753" cy="155526"/>
            </a:xfrm>
            <a:prstGeom prst="rect">
              <a:avLst/>
            </a:prstGeom>
            <a:solidFill>
              <a:schemeClr val="accent3"/>
            </a:solidFill>
          </p:spPr>
        </p:pic>
        <p:sp>
          <p:nvSpPr>
            <p:cNvPr id="93" name="TextBox 88"/>
            <p:cNvSpPr txBox="1"/>
            <p:nvPr/>
          </p:nvSpPr>
          <p:spPr>
            <a:xfrm>
              <a:off x="157277" y="2673523"/>
              <a:ext cx="604957" cy="320157"/>
            </a:xfrm>
            <a:prstGeom prst="rect">
              <a:avLst/>
            </a:prstGeom>
            <a:noFill/>
          </p:spPr>
          <p:txBody>
            <a:bodyPr tIns="90000" bIns="90000">
              <a:sp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dirty="0" err="1">
                  <a:latin typeface="+mj-lt"/>
                  <a:cs typeface="Calibri" panose="020F0502020204030204" pitchFamily="34" charset="0"/>
                </a:rPr>
                <a:t>Massiva</a:t>
              </a:r>
              <a:endParaRPr lang="en-GB" sz="900" dirty="0">
                <a:latin typeface="+mj-lt"/>
                <a:cs typeface="Calibri" panose="020F0502020204030204" pitchFamily="34" charset="0"/>
              </a:endParaRPr>
            </a:p>
          </p:txBody>
        </p:sp>
        <p:pic>
          <p:nvPicPr>
            <p:cNvPr id="94" name="Picture 4" descr="https://www.auspostbrand.com.au/media/17555/mail_ap_icon.png"/>
            <p:cNvPicPr>
              <a:picLocks noChangeAspect="1" noChangeArrowheads="1"/>
            </p:cNvPicPr>
            <p:nvPr/>
          </p:nvPicPr>
          <p:blipFill>
            <a:blip r:embed="rId10" cstate="print"/>
            <a:srcRect l="13157" t="23954" r="13077" b="24618"/>
            <a:stretch>
              <a:fillRect/>
            </a:stretch>
          </p:blipFill>
          <p:spPr bwMode="auto">
            <a:xfrm>
              <a:off x="338288" y="2584651"/>
              <a:ext cx="266753" cy="155526"/>
            </a:xfrm>
            <a:prstGeom prst="rect">
              <a:avLst/>
            </a:prstGeom>
            <a:solidFill>
              <a:schemeClr val="accent3"/>
            </a:solidFill>
          </p:spPr>
        </p:pic>
        <p:sp>
          <p:nvSpPr>
            <p:cNvPr id="95" name="TextBox 90"/>
            <p:cNvSpPr txBox="1"/>
            <p:nvPr/>
          </p:nvSpPr>
          <p:spPr>
            <a:xfrm>
              <a:off x="1297329" y="2729069"/>
              <a:ext cx="871710" cy="323062"/>
            </a:xfrm>
            <a:prstGeom prst="rect">
              <a:avLst/>
            </a:prstGeom>
            <a:noFill/>
          </p:spPr>
          <p:txBody>
            <a:bodyPr lIns="0" tIns="91439" rIns="0" bIns="91439">
              <a:sp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dirty="0" err="1">
                  <a:latin typeface="+mj-lt"/>
                  <a:cs typeface="Calibri" panose="020F0502020204030204" pitchFamily="34" charset="0"/>
                </a:rPr>
                <a:t>Editoria</a:t>
              </a:r>
              <a:r>
                <a:rPr lang="en-GB" sz="900" dirty="0">
                  <a:latin typeface="+mj-lt"/>
                  <a:cs typeface="Calibri" panose="020F0502020204030204" pitchFamily="34" charset="0"/>
                </a:rPr>
                <a:t> e DM</a:t>
              </a:r>
            </a:p>
          </p:txBody>
        </p:sp>
        <p:grpSp>
          <p:nvGrpSpPr>
            <p:cNvPr id="96" name="Group 476"/>
            <p:cNvGrpSpPr>
              <a:grpSpLocks/>
            </p:cNvGrpSpPr>
            <p:nvPr/>
          </p:nvGrpSpPr>
          <p:grpSpPr bwMode="auto">
            <a:xfrm>
              <a:off x="1467295" y="2573079"/>
              <a:ext cx="453195" cy="275902"/>
              <a:chOff x="891360" y="2773316"/>
              <a:chExt cx="561295" cy="330846"/>
            </a:xfrm>
          </p:grpSpPr>
          <p:pic>
            <p:nvPicPr>
              <p:cNvPr id="98" name="Picture 206" descr="mail_ap_icon.png"/>
              <p:cNvPicPr>
                <a:picLocks noChangeAspect="1"/>
              </p:cNvPicPr>
              <p:nvPr/>
            </p:nvPicPr>
            <p:blipFill>
              <a:blip r:embed="rId10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102418" y="2773316"/>
                <a:ext cx="350237" cy="3308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9" name="Picture 7" descr="http://www.ergonotec.it/images/carrello.gif"/>
              <p:cNvPicPr>
                <a:picLocks noChangeAspect="1" noChangeArrowheads="1"/>
              </p:cNvPicPr>
              <p:nvPr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891360" y="2807618"/>
                <a:ext cx="264978" cy="2281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97" name="Rectangle 479"/>
            <p:cNvSpPr>
              <a:spLocks noChangeArrowheads="1"/>
            </p:cNvSpPr>
            <p:nvPr/>
          </p:nvSpPr>
          <p:spPr bwMode="auto">
            <a:xfrm>
              <a:off x="138223" y="1765010"/>
              <a:ext cx="2009554" cy="132907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tIns="91440" bIns="91440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 defTabSz="889000"/>
              <a:endParaRPr lang="en-US" sz="1200">
                <a:solidFill>
                  <a:srgbClr val="0047A9"/>
                </a:solidFill>
                <a:latin typeface="+mj-lt"/>
                <a:cs typeface="Calibri" panose="020F0502020204030204" pitchFamily="34" charset="0"/>
              </a:endParaRPr>
            </a:p>
          </p:txBody>
        </p:sp>
      </p:grpSp>
      <p:grpSp>
        <p:nvGrpSpPr>
          <p:cNvPr id="109" name="Group 507"/>
          <p:cNvGrpSpPr>
            <a:grpSpLocks/>
          </p:cNvGrpSpPr>
          <p:nvPr/>
        </p:nvGrpSpPr>
        <p:grpSpPr bwMode="auto">
          <a:xfrm>
            <a:off x="185755" y="3603075"/>
            <a:ext cx="2009775" cy="701148"/>
            <a:chOff x="141767" y="3158422"/>
            <a:chExt cx="2009554" cy="701091"/>
          </a:xfrm>
        </p:grpSpPr>
        <p:sp>
          <p:nvSpPr>
            <p:cNvPr id="110" name="TextBox 259"/>
            <p:cNvSpPr txBox="1"/>
            <p:nvPr/>
          </p:nvSpPr>
          <p:spPr>
            <a:xfrm>
              <a:off x="141767" y="3158422"/>
              <a:ext cx="2009554" cy="161570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txBody>
            <a:bodyPr lIns="0" tIns="0" rIns="0" bIns="0">
              <a:sp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50" b="1" dirty="0" err="1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ASI</a:t>
              </a:r>
              <a:endParaRPr lang="en-GB" sz="1050" b="1" dirty="0">
                <a:solidFill>
                  <a:srgbClr val="FFFFFF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grpSp>
          <p:nvGrpSpPr>
            <p:cNvPr id="111" name="Group 261"/>
            <p:cNvGrpSpPr>
              <a:grpSpLocks/>
            </p:cNvGrpSpPr>
            <p:nvPr/>
          </p:nvGrpSpPr>
          <p:grpSpPr bwMode="auto">
            <a:xfrm>
              <a:off x="521132" y="3335761"/>
              <a:ext cx="1159932" cy="523752"/>
              <a:chOff x="7800051" y="5214263"/>
              <a:chExt cx="1520922" cy="622659"/>
            </a:xfrm>
          </p:grpSpPr>
          <p:pic>
            <p:nvPicPr>
              <p:cNvPr id="113" name="Picture 4" descr="https://www.auspostbrand.com.au/media/17555/mail_ap_icon.png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 l="13157" t="23954" r="13077" b="24618"/>
              <a:stretch>
                <a:fillRect/>
              </a:stretch>
            </p:blipFill>
            <p:spPr bwMode="auto">
              <a:xfrm>
                <a:off x="8141388" y="5318480"/>
                <a:ext cx="318443" cy="200036"/>
              </a:xfrm>
              <a:prstGeom prst="rect">
                <a:avLst/>
              </a:prstGeom>
              <a:solidFill>
                <a:schemeClr val="accent3"/>
              </a:solidFill>
            </p:spPr>
          </p:pic>
          <p:sp>
            <p:nvSpPr>
              <p:cNvPr id="114" name="TextBox 263"/>
              <p:cNvSpPr txBox="1"/>
              <p:nvPr/>
            </p:nvSpPr>
            <p:spPr>
              <a:xfrm>
                <a:off x="7800051" y="5435485"/>
                <a:ext cx="938677" cy="380704"/>
              </a:xfrm>
              <a:prstGeom prst="rect">
                <a:avLst/>
              </a:prstGeom>
              <a:noFill/>
            </p:spPr>
            <p:txBody>
              <a:bodyPr tIns="90000" bIns="90000">
                <a:spAutoFit/>
              </a:bodyPr>
              <a:lstStyle>
                <a:defPPr>
                  <a:defRPr lang="en-GB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GB" sz="900" dirty="0" err="1">
                    <a:latin typeface="+mj-lt"/>
                    <a:cs typeface="Calibri" panose="020F0502020204030204" pitchFamily="34" charset="0"/>
                  </a:rPr>
                  <a:t>Registrata</a:t>
                </a:r>
                <a:endParaRPr lang="en-GB" sz="900" dirty="0">
                  <a:latin typeface="+mj-lt"/>
                  <a:cs typeface="Calibri" panose="020F0502020204030204" pitchFamily="34" charset="0"/>
                </a:endParaRPr>
              </a:p>
            </p:txBody>
          </p:sp>
          <p:pic>
            <p:nvPicPr>
              <p:cNvPr id="115" name="clipart_icons_lockLocked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8196081" y="5248178"/>
                <a:ext cx="209092" cy="2131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6" name="Picture 3" descr="C:\Users\Vijayakumar Shruthi\AppData\Local\Microsoft\Windows\Temporary Internet Files\Content.Outlook\GVZR9D97\parcel_ap_icon.png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8701485" y="5214263"/>
                <a:ext cx="393969" cy="3837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17" name="TextBox 266"/>
              <p:cNvSpPr txBox="1"/>
              <p:nvPr/>
            </p:nvSpPr>
            <p:spPr>
              <a:xfrm>
                <a:off x="8580541" y="5456218"/>
                <a:ext cx="740432" cy="380704"/>
              </a:xfrm>
              <a:prstGeom prst="rect">
                <a:avLst/>
              </a:prstGeom>
              <a:noFill/>
            </p:spPr>
            <p:txBody>
              <a:bodyPr wrap="square" tIns="90000" bIns="90000">
                <a:spAutoFit/>
              </a:bodyPr>
              <a:lstStyle>
                <a:defPPr>
                  <a:defRPr lang="en-GB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sz="1400"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GB" sz="900" dirty="0" err="1">
                    <a:latin typeface="+mj-lt"/>
                    <a:cs typeface="Calibri" panose="020F0502020204030204" pitchFamily="34" charset="0"/>
                  </a:rPr>
                  <a:t>Pacchi</a:t>
                </a:r>
                <a:endParaRPr lang="en-GB" sz="900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12" name="Rectangle 482"/>
            <p:cNvSpPr>
              <a:spLocks noChangeArrowheads="1"/>
            </p:cNvSpPr>
            <p:nvPr/>
          </p:nvSpPr>
          <p:spPr bwMode="auto">
            <a:xfrm>
              <a:off x="141767" y="3161407"/>
              <a:ext cx="2009554" cy="64504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tIns="91440" bIns="91440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 defTabSz="889000"/>
              <a:endParaRPr lang="en-US" sz="1200">
                <a:solidFill>
                  <a:srgbClr val="0047A9"/>
                </a:solidFill>
                <a:latin typeface="+mj-lt"/>
                <a:cs typeface="Calibri" panose="020F0502020204030204" pitchFamily="34" charset="0"/>
              </a:endParaRPr>
            </a:p>
          </p:txBody>
        </p:sp>
      </p:grpSp>
      <p:sp>
        <p:nvSpPr>
          <p:cNvPr id="118" name="Right Arrow 496"/>
          <p:cNvSpPr/>
          <p:nvPr/>
        </p:nvSpPr>
        <p:spPr>
          <a:xfrm>
            <a:off x="2212923" y="4553979"/>
            <a:ext cx="628650" cy="303212"/>
          </a:xfrm>
          <a:prstGeom prst="rightArrow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0000" bIns="90000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endParaRPr lang="it-IT" sz="1200" dirty="0">
              <a:solidFill>
                <a:srgbClr val="000000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19" name="TextBox 509"/>
          <p:cNvSpPr txBox="1"/>
          <p:nvPr/>
        </p:nvSpPr>
        <p:spPr>
          <a:xfrm>
            <a:off x="185755" y="4325385"/>
            <a:ext cx="2009775" cy="161583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lIns="0" tIns="0" rIns="0" bIns="0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50" b="1" dirty="0" err="1">
                <a:solidFill>
                  <a:srgbClr val="FFFFFF"/>
                </a:solidFill>
                <a:latin typeface="+mj-lt"/>
                <a:cs typeface="Calibri" panose="020F0502020204030204" pitchFamily="34" charset="0"/>
              </a:rPr>
              <a:t>Messi</a:t>
            </a:r>
            <a:r>
              <a:rPr lang="en-GB" sz="1050" b="1" dirty="0">
                <a:solidFill>
                  <a:srgbClr val="FFFFFF"/>
                </a:solidFill>
                <a:latin typeface="+mj-lt"/>
                <a:cs typeface="Calibri" panose="020F0502020204030204" pitchFamily="34" charset="0"/>
              </a:rPr>
              <a:t> </a:t>
            </a:r>
            <a:r>
              <a:rPr lang="en-GB" sz="1050" b="1" dirty="0" err="1">
                <a:solidFill>
                  <a:srgbClr val="FFFFFF"/>
                </a:solidFill>
                <a:latin typeface="+mj-lt"/>
                <a:cs typeface="Calibri" panose="020F0502020204030204" pitchFamily="34" charset="0"/>
              </a:rPr>
              <a:t>notificatori</a:t>
            </a:r>
            <a:endParaRPr lang="en-GB" sz="1050" b="1" dirty="0">
              <a:solidFill>
                <a:srgbClr val="FFFFFF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20" name="Rectangle 511"/>
          <p:cNvSpPr>
            <a:spLocks noChangeArrowheads="1"/>
          </p:cNvSpPr>
          <p:nvPr/>
        </p:nvSpPr>
        <p:spPr bwMode="auto">
          <a:xfrm>
            <a:off x="185755" y="4328562"/>
            <a:ext cx="2009775" cy="644525"/>
          </a:xfrm>
          <a:prstGeom prst="rect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 tIns="91440" bIns="91440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defTabSz="889000"/>
            <a:endParaRPr lang="en-US" sz="1200">
              <a:solidFill>
                <a:srgbClr val="0047A9"/>
              </a:solidFill>
              <a:latin typeface="+mj-lt"/>
              <a:cs typeface="Calibri" panose="020F0502020204030204" pitchFamily="34" charset="0"/>
            </a:endParaRPr>
          </a:p>
        </p:txBody>
      </p:sp>
      <p:grpSp>
        <p:nvGrpSpPr>
          <p:cNvPr id="121" name="Group 519"/>
          <p:cNvGrpSpPr>
            <a:grpSpLocks/>
          </p:cNvGrpSpPr>
          <p:nvPr/>
        </p:nvGrpSpPr>
        <p:grpSpPr bwMode="auto">
          <a:xfrm>
            <a:off x="468311" y="4549228"/>
            <a:ext cx="1323973" cy="486945"/>
            <a:chOff x="2060514" y="6263381"/>
            <a:chExt cx="1324173" cy="487171"/>
          </a:xfrm>
        </p:grpSpPr>
        <p:pic>
          <p:nvPicPr>
            <p:cNvPr id="122" name="clipart_miscellaneous_contracts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2629785" y="6263381"/>
              <a:ext cx="244495" cy="250028"/>
            </a:xfrm>
            <a:prstGeom prst="rect">
              <a:avLst/>
            </a:prstGeom>
            <a:solidFill>
              <a:srgbClr val="9C3328"/>
            </a:solidFill>
            <a:ln w="9525">
              <a:noFill/>
              <a:miter lim="800000"/>
              <a:headEnd/>
              <a:tailEnd/>
            </a:ln>
          </p:spPr>
        </p:pic>
        <p:sp>
          <p:nvSpPr>
            <p:cNvPr id="123" name="TextBox 518"/>
            <p:cNvSpPr txBox="1"/>
            <p:nvPr/>
          </p:nvSpPr>
          <p:spPr>
            <a:xfrm>
              <a:off x="2060514" y="6430146"/>
              <a:ext cx="1324173" cy="320406"/>
            </a:xfrm>
            <a:prstGeom prst="rect">
              <a:avLst/>
            </a:prstGeom>
            <a:noFill/>
          </p:spPr>
          <p:txBody>
            <a:bodyPr tIns="90000" bIns="90000">
              <a:sp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dirty="0" err="1">
                  <a:latin typeface="+mj-lt"/>
                  <a:cs typeface="Calibri" panose="020F0502020204030204" pitchFamily="34" charset="0"/>
                </a:rPr>
                <a:t>Cartelle</a:t>
              </a:r>
              <a:r>
                <a:rPr lang="en-GB" sz="900" dirty="0">
                  <a:latin typeface="+mj-lt"/>
                  <a:cs typeface="Calibri" panose="020F0502020204030204" pitchFamily="34" charset="0"/>
                </a:rPr>
                <a:t> </a:t>
              </a:r>
              <a:r>
                <a:rPr lang="en-GB" sz="900" dirty="0" err="1">
                  <a:latin typeface="+mj-lt"/>
                  <a:cs typeface="Calibri" panose="020F0502020204030204" pitchFamily="34" charset="0"/>
                </a:rPr>
                <a:t>esattoriali</a:t>
              </a:r>
              <a:endParaRPr lang="en-GB" sz="900" dirty="0">
                <a:latin typeface="+mj-lt"/>
                <a:cs typeface="Calibri" panose="020F0502020204030204" pitchFamily="34" charset="0"/>
              </a:endParaRPr>
            </a:p>
          </p:txBody>
        </p:sp>
      </p:grpSp>
      <p:pic>
        <p:nvPicPr>
          <p:cNvPr id="124" name="Picture 4" descr="http://www.vanswingthing.com/images/icons/Mailman.jpg"/>
          <p:cNvPicPr>
            <a:picLocks noChangeAspect="1" noChangeArrowheads="1"/>
          </p:cNvPicPr>
          <p:nvPr/>
        </p:nvPicPr>
        <p:blipFill>
          <a:blip r:embed="rId14" cstate="print"/>
          <a:srcRect l="17456" r="19510"/>
          <a:stretch>
            <a:fillRect/>
          </a:stretch>
        </p:blipFill>
        <p:spPr bwMode="auto">
          <a:xfrm>
            <a:off x="2351037" y="2647412"/>
            <a:ext cx="295276" cy="506413"/>
          </a:xfrm>
          <a:prstGeom prst="rect">
            <a:avLst/>
          </a:prstGeom>
          <a:noFill/>
          <a:ln w="9525">
            <a:solidFill>
              <a:srgbClr val="B2B2B2"/>
            </a:solidFill>
            <a:miter lim="800000"/>
            <a:headEnd/>
            <a:tailEnd/>
          </a:ln>
        </p:spPr>
      </p:pic>
      <p:pic>
        <p:nvPicPr>
          <p:cNvPr id="125" name="Picture 4" descr="http://www.ocbf.ca/2012/sites/default/files/img/chrishome/mail.jpg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2311348" y="4495241"/>
            <a:ext cx="295276" cy="376238"/>
          </a:xfrm>
          <a:prstGeom prst="rect">
            <a:avLst/>
          </a:prstGeom>
          <a:noFill/>
          <a:ln w="9525">
            <a:solidFill>
              <a:schemeClr val="tx1">
                <a:lumMod val="60000"/>
                <a:lumOff val="40000"/>
              </a:schemeClr>
            </a:solidFill>
            <a:miter lim="800000"/>
            <a:headEnd/>
            <a:tailEnd/>
          </a:ln>
        </p:spPr>
      </p:pic>
      <p:sp>
        <p:nvSpPr>
          <p:cNvPr id="127" name="Rectangle 522"/>
          <p:cNvSpPr>
            <a:spLocks noChangeArrowheads="1"/>
          </p:cNvSpPr>
          <p:nvPr/>
        </p:nvSpPr>
        <p:spPr bwMode="auto">
          <a:xfrm>
            <a:off x="4738391" y="2198140"/>
            <a:ext cx="2009155" cy="323165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r>
              <a:rPr lang="en-GB" sz="1050" b="1" dirty="0">
                <a:solidFill>
                  <a:srgbClr val="FFFFFF"/>
                </a:solidFill>
                <a:latin typeface="+mj-lt"/>
                <a:cs typeface="Calibri" panose="020F0502020204030204" pitchFamily="34" charset="0"/>
              </a:rPr>
              <a:t>Rete di base</a:t>
            </a:r>
          </a:p>
          <a:p>
            <a:pPr algn="ctr"/>
            <a:r>
              <a:rPr lang="en-GB" sz="1050" b="1" dirty="0">
                <a:solidFill>
                  <a:srgbClr val="FFFFFF"/>
                </a:solidFill>
                <a:latin typeface="+mj-lt"/>
                <a:cs typeface="Calibri" panose="020F0502020204030204" pitchFamily="34" charset="0"/>
              </a:rPr>
              <a:t>(</a:t>
            </a:r>
            <a:r>
              <a:rPr lang="en-GB" sz="1050" b="1" dirty="0" err="1">
                <a:solidFill>
                  <a:srgbClr val="FFFFFF"/>
                </a:solidFill>
                <a:latin typeface="+mj-lt"/>
                <a:cs typeface="Calibri" panose="020F0502020204030204" pitchFamily="34" charset="0"/>
              </a:rPr>
              <a:t>recapito</a:t>
            </a:r>
            <a:r>
              <a:rPr lang="en-GB" sz="1050" b="1" dirty="0">
                <a:solidFill>
                  <a:srgbClr val="FFFFFF"/>
                </a:solidFill>
                <a:latin typeface="+mj-lt"/>
                <a:cs typeface="Calibri" panose="020F0502020204030204" pitchFamily="34" charset="0"/>
              </a:rPr>
              <a:t> a </a:t>
            </a:r>
            <a:r>
              <a:rPr lang="en-GB" sz="1050" b="1" dirty="0" err="1">
                <a:solidFill>
                  <a:srgbClr val="FFFFFF"/>
                </a:solidFill>
                <a:latin typeface="+mj-lt"/>
                <a:cs typeface="Calibri" panose="020F0502020204030204" pitchFamily="34" charset="0"/>
              </a:rPr>
              <a:t>giorni</a:t>
            </a:r>
            <a:r>
              <a:rPr lang="en-GB" sz="1050" b="1" dirty="0">
                <a:solidFill>
                  <a:srgbClr val="FFFFFF"/>
                </a:solidFill>
                <a:latin typeface="+mj-lt"/>
                <a:cs typeface="Calibri" panose="020F0502020204030204" pitchFamily="34" charset="0"/>
              </a:rPr>
              <a:t> </a:t>
            </a:r>
            <a:r>
              <a:rPr lang="en-GB" sz="1050" b="1" dirty="0" err="1">
                <a:solidFill>
                  <a:srgbClr val="FFFFFF"/>
                </a:solidFill>
                <a:latin typeface="+mj-lt"/>
                <a:cs typeface="Calibri" panose="020F0502020204030204" pitchFamily="34" charset="0"/>
              </a:rPr>
              <a:t>alterni</a:t>
            </a:r>
            <a:r>
              <a:rPr lang="en-GB" sz="1050" b="1" dirty="0">
                <a:solidFill>
                  <a:srgbClr val="FFFFFF"/>
                </a:solidFill>
                <a:latin typeface="+mj-lt"/>
                <a:cs typeface="Calibri" panose="020F0502020204030204" pitchFamily="34" charset="0"/>
              </a:rPr>
              <a:t>)</a:t>
            </a:r>
          </a:p>
        </p:txBody>
      </p:sp>
      <p:grpSp>
        <p:nvGrpSpPr>
          <p:cNvPr id="128" name="Group 525"/>
          <p:cNvGrpSpPr>
            <a:grpSpLocks/>
          </p:cNvGrpSpPr>
          <p:nvPr/>
        </p:nvGrpSpPr>
        <p:grpSpPr bwMode="auto">
          <a:xfrm>
            <a:off x="5368625" y="2610513"/>
            <a:ext cx="704850" cy="345009"/>
            <a:chOff x="674263" y="2211573"/>
            <a:chExt cx="754062" cy="374557"/>
          </a:xfrm>
        </p:grpSpPr>
        <p:grpSp>
          <p:nvGrpSpPr>
            <p:cNvPr id="138" name="Group 64"/>
            <p:cNvGrpSpPr>
              <a:grpSpLocks/>
            </p:cNvGrpSpPr>
            <p:nvPr/>
          </p:nvGrpSpPr>
          <p:grpSpPr bwMode="auto">
            <a:xfrm>
              <a:off x="825412" y="2211573"/>
              <a:ext cx="462786" cy="327241"/>
              <a:chOff x="1394396" y="4584584"/>
              <a:chExt cx="995605" cy="720000"/>
            </a:xfrm>
          </p:grpSpPr>
          <p:pic>
            <p:nvPicPr>
              <p:cNvPr id="140" name="Picture 541" descr="mail_ap_icon.png"/>
              <p:cNvPicPr>
                <a:picLocks noChangeAspect="1"/>
              </p:cNvPicPr>
              <p:nvPr/>
            </p:nvPicPr>
            <p:blipFill>
              <a:blip r:embed="rId10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670001" y="4584584"/>
                <a:ext cx="720000" cy="72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141" name="Straight Connector 542"/>
              <p:cNvCxnSpPr/>
              <p:nvPr/>
            </p:nvCxnSpPr>
            <p:spPr>
              <a:xfrm flipH="1">
                <a:off x="1394396" y="4823793"/>
                <a:ext cx="361715" cy="0"/>
              </a:xfrm>
              <a:prstGeom prst="line">
                <a:avLst/>
              </a:prstGeom>
              <a:ln w="57150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543"/>
              <p:cNvCxnSpPr/>
              <p:nvPr/>
            </p:nvCxnSpPr>
            <p:spPr>
              <a:xfrm flipH="1">
                <a:off x="1467469" y="4941346"/>
                <a:ext cx="288642" cy="0"/>
              </a:xfrm>
              <a:prstGeom prst="line">
                <a:avLst/>
              </a:prstGeom>
              <a:ln w="57150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544"/>
              <p:cNvCxnSpPr/>
              <p:nvPr/>
            </p:nvCxnSpPr>
            <p:spPr>
              <a:xfrm flipH="1">
                <a:off x="1536890" y="5055106"/>
                <a:ext cx="219221" cy="0"/>
              </a:xfrm>
              <a:prstGeom prst="line">
                <a:avLst/>
              </a:prstGeom>
              <a:ln w="57150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9" name="TextBox 540"/>
            <p:cNvSpPr txBox="1"/>
            <p:nvPr/>
          </p:nvSpPr>
          <p:spPr>
            <a:xfrm>
              <a:off x="674263" y="2435769"/>
              <a:ext cx="754062" cy="150361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dirty="0" err="1">
                  <a:latin typeface="+mj-lt"/>
                  <a:cs typeface="Calibri" panose="020F0502020204030204" pitchFamily="34" charset="0"/>
                </a:rPr>
                <a:t>Prioritaria</a:t>
              </a:r>
              <a:endParaRPr lang="en-GB" sz="900" dirty="0">
                <a:latin typeface="+mj-lt"/>
                <a:cs typeface="Calibri" panose="020F0502020204030204" pitchFamily="34" charset="0"/>
              </a:endParaRPr>
            </a:p>
          </p:txBody>
        </p:sp>
      </p:grpSp>
      <p:pic>
        <p:nvPicPr>
          <p:cNvPr id="130" name="Picture 4" descr="https://www.auspostbrand.com.au/media/17555/mail_ap_icon.png"/>
          <p:cNvPicPr>
            <a:picLocks noChangeAspect="1" noChangeArrowheads="1"/>
          </p:cNvPicPr>
          <p:nvPr/>
        </p:nvPicPr>
        <p:blipFill>
          <a:blip r:embed="rId10" cstate="print"/>
          <a:srcRect l="13157" t="23954" r="13077" b="24618"/>
          <a:stretch>
            <a:fillRect/>
          </a:stretch>
        </p:blipFill>
        <p:spPr bwMode="auto">
          <a:xfrm>
            <a:off x="4927112" y="2589902"/>
            <a:ext cx="266700" cy="155575"/>
          </a:xfrm>
          <a:prstGeom prst="rect">
            <a:avLst/>
          </a:prstGeom>
          <a:solidFill>
            <a:schemeClr val="accent3"/>
          </a:solidFill>
        </p:spPr>
      </p:pic>
      <p:sp>
        <p:nvSpPr>
          <p:cNvPr id="131" name="TextBox 529"/>
          <p:cNvSpPr txBox="1"/>
          <p:nvPr/>
        </p:nvSpPr>
        <p:spPr bwMode="auto">
          <a:xfrm>
            <a:off x="4733503" y="2734229"/>
            <a:ext cx="604838" cy="320257"/>
          </a:xfrm>
          <a:prstGeom prst="rect">
            <a:avLst/>
          </a:prstGeom>
          <a:noFill/>
        </p:spPr>
        <p:txBody>
          <a:bodyPr tIns="90000" bIns="90000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 err="1">
                <a:latin typeface="+mj-lt"/>
                <a:cs typeface="Calibri" panose="020F0502020204030204" pitchFamily="34" charset="0"/>
              </a:rPr>
              <a:t>Massiva</a:t>
            </a:r>
            <a:endParaRPr lang="en-GB" sz="900" dirty="0">
              <a:latin typeface="+mj-lt"/>
              <a:cs typeface="Calibri" panose="020F0502020204030204" pitchFamily="34" charset="0"/>
            </a:endParaRPr>
          </a:p>
        </p:txBody>
      </p:sp>
      <p:pic>
        <p:nvPicPr>
          <p:cNvPr id="132" name="Picture 4" descr="https://www.auspostbrand.com.au/media/17555/mail_ap_icon.png"/>
          <p:cNvPicPr>
            <a:picLocks noChangeAspect="1" noChangeArrowheads="1"/>
          </p:cNvPicPr>
          <p:nvPr/>
        </p:nvPicPr>
        <p:blipFill>
          <a:blip r:embed="rId10" cstate="print"/>
          <a:srcRect l="13157" t="23954" r="13077" b="24618"/>
          <a:stretch>
            <a:fillRect/>
          </a:stretch>
        </p:blipFill>
        <p:spPr bwMode="auto">
          <a:xfrm>
            <a:off x="4914476" y="2645330"/>
            <a:ext cx="266700" cy="155575"/>
          </a:xfrm>
          <a:prstGeom prst="rect">
            <a:avLst/>
          </a:prstGeom>
          <a:solidFill>
            <a:schemeClr val="accent3"/>
          </a:solidFill>
        </p:spPr>
      </p:pic>
      <p:sp>
        <p:nvSpPr>
          <p:cNvPr id="133" name="TextBox 531"/>
          <p:cNvSpPr txBox="1"/>
          <p:nvPr/>
        </p:nvSpPr>
        <p:spPr bwMode="auto">
          <a:xfrm>
            <a:off x="5923646" y="2788596"/>
            <a:ext cx="871538" cy="323163"/>
          </a:xfrm>
          <a:prstGeom prst="rect">
            <a:avLst/>
          </a:prstGeom>
          <a:noFill/>
        </p:spPr>
        <p:txBody>
          <a:bodyPr lIns="0" tIns="91439" rIns="0" bIns="91439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 err="1">
                <a:latin typeface="+mj-lt"/>
                <a:cs typeface="Calibri" panose="020F0502020204030204" pitchFamily="34" charset="0"/>
              </a:rPr>
              <a:t>Editoria</a:t>
            </a:r>
            <a:r>
              <a:rPr lang="en-GB" sz="900" dirty="0">
                <a:latin typeface="+mj-lt"/>
                <a:cs typeface="Calibri" panose="020F0502020204030204" pitchFamily="34" charset="0"/>
              </a:rPr>
              <a:t> e DM</a:t>
            </a:r>
          </a:p>
        </p:txBody>
      </p:sp>
      <p:grpSp>
        <p:nvGrpSpPr>
          <p:cNvPr id="134" name="Group 532"/>
          <p:cNvGrpSpPr>
            <a:grpSpLocks/>
          </p:cNvGrpSpPr>
          <p:nvPr/>
        </p:nvGrpSpPr>
        <p:grpSpPr bwMode="auto">
          <a:xfrm>
            <a:off x="6093581" y="2632547"/>
            <a:ext cx="453105" cy="275988"/>
            <a:chOff x="891360" y="2773316"/>
            <a:chExt cx="561295" cy="330846"/>
          </a:xfrm>
        </p:grpSpPr>
        <p:pic>
          <p:nvPicPr>
            <p:cNvPr id="136" name="Picture 534" descr="mail_ap_icon.png"/>
            <p:cNvPicPr>
              <a:picLocks noChangeAspect="1"/>
            </p:cNvPicPr>
            <p:nvPr/>
          </p:nvPicPr>
          <p:blipFill>
            <a:blip r:embed="rId1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102418" y="2773316"/>
              <a:ext cx="350237" cy="3308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7" name="Picture 7" descr="http://www.ergonotec.it/images/carrello.gif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891360" y="2807618"/>
              <a:ext cx="264978" cy="228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35" name="Rectangle 533"/>
          <p:cNvSpPr>
            <a:spLocks noChangeArrowheads="1"/>
          </p:cNvSpPr>
          <p:nvPr/>
        </p:nvSpPr>
        <p:spPr bwMode="auto">
          <a:xfrm>
            <a:off x="4738391" y="2208505"/>
            <a:ext cx="2009155" cy="1622137"/>
          </a:xfrm>
          <a:prstGeom prst="rect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 tIns="91440" bIns="91440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defTabSz="889000"/>
            <a:endParaRPr lang="en-US" sz="1200">
              <a:solidFill>
                <a:srgbClr val="0047A9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44" name="Right Arrow 547"/>
          <p:cNvSpPr/>
          <p:nvPr/>
        </p:nvSpPr>
        <p:spPr>
          <a:xfrm>
            <a:off x="6811527" y="2756929"/>
            <a:ext cx="628650" cy="303212"/>
          </a:xfrm>
          <a:prstGeom prst="rightArrow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0000" bIns="90000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endParaRPr lang="it-IT" sz="1200" dirty="0">
              <a:solidFill>
                <a:srgbClr val="000000"/>
              </a:solidFill>
              <a:latin typeface="+mj-lt"/>
              <a:cs typeface="Calibri" panose="020F0502020204030204" pitchFamily="34" charset="0"/>
            </a:endParaRPr>
          </a:p>
        </p:txBody>
      </p:sp>
      <p:pic>
        <p:nvPicPr>
          <p:cNvPr id="145" name="Picture 4" descr="http://www.vanswingthing.com/images/icons/Mailman.jpg"/>
          <p:cNvPicPr>
            <a:picLocks noChangeAspect="1" noChangeArrowheads="1"/>
          </p:cNvPicPr>
          <p:nvPr/>
        </p:nvPicPr>
        <p:blipFill>
          <a:blip r:embed="rId14" cstate="print"/>
          <a:srcRect l="17456" r="19510"/>
          <a:stretch>
            <a:fillRect/>
          </a:stretch>
        </p:blipFill>
        <p:spPr bwMode="auto">
          <a:xfrm>
            <a:off x="6938529" y="2647412"/>
            <a:ext cx="295276" cy="506413"/>
          </a:xfrm>
          <a:prstGeom prst="rect">
            <a:avLst/>
          </a:prstGeom>
          <a:noFill/>
          <a:ln w="9525">
            <a:solidFill>
              <a:srgbClr val="B2B2B2"/>
            </a:solidFill>
            <a:miter lim="800000"/>
            <a:headEnd/>
            <a:tailEnd/>
          </a:ln>
        </p:spPr>
      </p:pic>
      <p:sp>
        <p:nvSpPr>
          <p:cNvPr id="146" name="Right Arrow 561"/>
          <p:cNvSpPr/>
          <p:nvPr/>
        </p:nvSpPr>
        <p:spPr>
          <a:xfrm>
            <a:off x="6811527" y="4079203"/>
            <a:ext cx="628650" cy="303212"/>
          </a:xfrm>
          <a:prstGeom prst="rightArrow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0000" bIns="90000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endParaRPr lang="it-IT" sz="1200" dirty="0">
              <a:solidFill>
                <a:srgbClr val="000000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54" name="TextBox 550"/>
          <p:cNvSpPr txBox="1"/>
          <p:nvPr/>
        </p:nvSpPr>
        <p:spPr bwMode="auto">
          <a:xfrm>
            <a:off x="4733445" y="3927280"/>
            <a:ext cx="2009773" cy="307777"/>
          </a:xfrm>
          <a:prstGeom prst="rect">
            <a:avLst/>
          </a:prstGeom>
          <a:solidFill>
            <a:srgbClr val="F4E601"/>
          </a:solidFill>
          <a:ln>
            <a:solidFill>
              <a:srgbClr val="F4E601"/>
            </a:solidFill>
          </a:ln>
        </p:spPr>
        <p:txBody>
          <a:bodyPr lIns="0" tIns="0" rIns="0" bIns="0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0" b="1" dirty="0">
                <a:solidFill>
                  <a:srgbClr val="706F6F"/>
                </a:solidFill>
                <a:latin typeface="+mj-lt"/>
                <a:cs typeface="Calibri" panose="020F0502020204030204" pitchFamily="34" charset="0"/>
              </a:rPr>
              <a:t>Linea Business </a:t>
            </a:r>
          </a:p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0" b="1" dirty="0">
                <a:solidFill>
                  <a:srgbClr val="706F6F"/>
                </a:solidFill>
                <a:latin typeface="+mj-lt"/>
                <a:cs typeface="Calibri" panose="020F0502020204030204" pitchFamily="34" charset="0"/>
              </a:rPr>
              <a:t>(</a:t>
            </a:r>
            <a:r>
              <a:rPr lang="en-GB" sz="1000" b="1" dirty="0" err="1">
                <a:solidFill>
                  <a:srgbClr val="706F6F"/>
                </a:solidFill>
                <a:latin typeface="+mj-lt"/>
                <a:cs typeface="Calibri" panose="020F0502020204030204" pitchFamily="34" charset="0"/>
              </a:rPr>
              <a:t>recapito</a:t>
            </a:r>
            <a:r>
              <a:rPr lang="en-GB" sz="1000" b="1" dirty="0">
                <a:solidFill>
                  <a:srgbClr val="706F6F"/>
                </a:solidFill>
                <a:latin typeface="+mj-lt"/>
                <a:cs typeface="Calibri" panose="020F0502020204030204" pitchFamily="34" charset="0"/>
              </a:rPr>
              <a:t> </a:t>
            </a:r>
            <a:r>
              <a:rPr lang="en-GB" sz="1000" b="1" dirty="0" err="1">
                <a:solidFill>
                  <a:srgbClr val="706F6F"/>
                </a:solidFill>
                <a:latin typeface="+mj-lt"/>
                <a:cs typeface="Calibri" panose="020F0502020204030204" pitchFamily="34" charset="0"/>
              </a:rPr>
              <a:t>quotidiano</a:t>
            </a:r>
            <a:r>
              <a:rPr lang="en-GB" sz="1000" b="1" dirty="0">
                <a:solidFill>
                  <a:srgbClr val="706F6F"/>
                </a:solidFill>
                <a:latin typeface="+mj-lt"/>
                <a:cs typeface="Calibri" panose="020F0502020204030204" pitchFamily="34" charset="0"/>
              </a:rPr>
              <a:t>)</a:t>
            </a:r>
          </a:p>
        </p:txBody>
      </p:sp>
      <p:pic>
        <p:nvPicPr>
          <p:cNvPr id="157" name="Picture 4" descr="https://www.auspostbrand.com.au/media/17555/mail_ap_icon.png"/>
          <p:cNvPicPr>
            <a:picLocks noChangeAspect="1" noChangeArrowheads="1"/>
          </p:cNvPicPr>
          <p:nvPr/>
        </p:nvPicPr>
        <p:blipFill>
          <a:blip r:embed="rId10" cstate="print"/>
          <a:srcRect l="13157" t="23954" r="13077" b="24618"/>
          <a:stretch>
            <a:fillRect/>
          </a:stretch>
        </p:blipFill>
        <p:spPr bwMode="auto">
          <a:xfrm>
            <a:off x="5060468" y="4430511"/>
            <a:ext cx="242887" cy="168274"/>
          </a:xfrm>
          <a:prstGeom prst="rect">
            <a:avLst/>
          </a:prstGeom>
          <a:solidFill>
            <a:schemeClr val="accent3"/>
          </a:solidFill>
        </p:spPr>
      </p:pic>
      <p:sp>
        <p:nvSpPr>
          <p:cNvPr id="158" name="TextBox 554"/>
          <p:cNvSpPr txBox="1"/>
          <p:nvPr/>
        </p:nvSpPr>
        <p:spPr bwMode="auto">
          <a:xfrm>
            <a:off x="4800113" y="4528939"/>
            <a:ext cx="715962" cy="320257"/>
          </a:xfrm>
          <a:prstGeom prst="rect">
            <a:avLst/>
          </a:prstGeom>
          <a:noFill/>
        </p:spPr>
        <p:txBody>
          <a:bodyPr tIns="90000" bIns="90000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 err="1">
                <a:latin typeface="+mj-lt"/>
                <a:cs typeface="Calibri" panose="020F0502020204030204" pitchFamily="34" charset="0"/>
              </a:rPr>
              <a:t>Registrata</a:t>
            </a:r>
            <a:endParaRPr lang="en-GB" sz="900" dirty="0">
              <a:latin typeface="+mj-lt"/>
              <a:cs typeface="Calibri" panose="020F0502020204030204" pitchFamily="34" charset="0"/>
            </a:endParaRPr>
          </a:p>
        </p:txBody>
      </p:sp>
      <p:pic>
        <p:nvPicPr>
          <p:cNvPr id="159" name="clipart_icons_lockLocked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101466" y="4372445"/>
            <a:ext cx="159423" cy="179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0" name="Picture 3" descr="C:\Users\Vijayakumar Shruthi\AppData\Local\Microsoft\Windows\Temporary Internet Files\Content.Outlook\GVZR9D97\parcel_ap_icon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537604" y="4343914"/>
            <a:ext cx="300382" cy="322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1" name="TextBox 557"/>
          <p:cNvSpPr txBox="1"/>
          <p:nvPr/>
        </p:nvSpPr>
        <p:spPr bwMode="auto">
          <a:xfrm>
            <a:off x="5446222" y="4546404"/>
            <a:ext cx="601866" cy="320257"/>
          </a:xfrm>
          <a:prstGeom prst="rect">
            <a:avLst/>
          </a:prstGeom>
          <a:noFill/>
        </p:spPr>
        <p:txBody>
          <a:bodyPr wrap="square" tIns="90000" bIns="90000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 err="1">
                <a:latin typeface="+mj-lt"/>
                <a:cs typeface="Calibri" panose="020F0502020204030204" pitchFamily="34" charset="0"/>
              </a:rPr>
              <a:t>Pacchi</a:t>
            </a:r>
            <a:endParaRPr lang="en-GB" sz="900" dirty="0"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56" name="Rectangle 552"/>
          <p:cNvSpPr>
            <a:spLocks noChangeArrowheads="1"/>
          </p:cNvSpPr>
          <p:nvPr/>
        </p:nvSpPr>
        <p:spPr bwMode="auto">
          <a:xfrm>
            <a:off x="4733445" y="3930273"/>
            <a:ext cx="2009029" cy="1454006"/>
          </a:xfrm>
          <a:prstGeom prst="rect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 tIns="91440" bIns="91440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defTabSz="889000"/>
            <a:endParaRPr lang="en-US" sz="1200">
              <a:solidFill>
                <a:srgbClr val="0047A9"/>
              </a:solidFill>
              <a:latin typeface="+mj-lt"/>
              <a:cs typeface="Calibri" panose="020F0502020204030204" pitchFamily="34" charset="0"/>
            </a:endParaRPr>
          </a:p>
        </p:txBody>
      </p:sp>
      <p:pic>
        <p:nvPicPr>
          <p:cNvPr id="152" name="clipart_miscellaneous_contracts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166401" y="4334601"/>
            <a:ext cx="219526" cy="210230"/>
          </a:xfrm>
          <a:prstGeom prst="rect">
            <a:avLst/>
          </a:prstGeom>
          <a:solidFill>
            <a:srgbClr val="9C3328"/>
          </a:solidFill>
          <a:ln w="9525">
            <a:noFill/>
            <a:miter lim="800000"/>
            <a:headEnd/>
            <a:tailEnd/>
          </a:ln>
        </p:spPr>
      </p:pic>
      <p:sp>
        <p:nvSpPr>
          <p:cNvPr id="153" name="TextBox 518"/>
          <p:cNvSpPr txBox="1"/>
          <p:nvPr/>
        </p:nvSpPr>
        <p:spPr bwMode="auto">
          <a:xfrm>
            <a:off x="5981656" y="4465446"/>
            <a:ext cx="942974" cy="458757"/>
          </a:xfrm>
          <a:prstGeom prst="rect">
            <a:avLst/>
          </a:prstGeom>
          <a:noFill/>
        </p:spPr>
        <p:txBody>
          <a:bodyPr tIns="90000" bIns="90000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 err="1">
                <a:latin typeface="+mj-lt"/>
                <a:cs typeface="Calibri" panose="020F0502020204030204" pitchFamily="34" charset="0"/>
              </a:rPr>
              <a:t>Cartelle</a:t>
            </a:r>
            <a:r>
              <a:rPr lang="en-GB" sz="900" dirty="0">
                <a:latin typeface="+mj-lt"/>
                <a:cs typeface="Calibri" panose="020F0502020204030204" pitchFamily="34" charset="0"/>
              </a:rPr>
              <a:t> </a:t>
            </a:r>
            <a:r>
              <a:rPr lang="en-GB" sz="900" dirty="0" err="1">
                <a:latin typeface="+mj-lt"/>
                <a:cs typeface="Calibri" panose="020F0502020204030204" pitchFamily="34" charset="0"/>
              </a:rPr>
              <a:t>esattoriali</a:t>
            </a:r>
            <a:endParaRPr lang="en-GB" sz="900" dirty="0">
              <a:latin typeface="+mj-lt"/>
              <a:cs typeface="Calibri" panose="020F0502020204030204" pitchFamily="34" charset="0"/>
            </a:endParaRPr>
          </a:p>
        </p:txBody>
      </p:sp>
      <p:grpSp>
        <p:nvGrpSpPr>
          <p:cNvPr id="162" name="Group 155"/>
          <p:cNvGrpSpPr>
            <a:grpSpLocks/>
          </p:cNvGrpSpPr>
          <p:nvPr/>
        </p:nvGrpSpPr>
        <p:grpSpPr bwMode="auto">
          <a:xfrm>
            <a:off x="2777752" y="2337497"/>
            <a:ext cx="1592264" cy="2451101"/>
            <a:chOff x="1981309" y="1865902"/>
            <a:chExt cx="1812424" cy="2871787"/>
          </a:xfrm>
        </p:grpSpPr>
        <p:sp>
          <p:nvSpPr>
            <p:cNvPr id="163" name="Freeform 31"/>
            <p:cNvSpPr>
              <a:spLocks/>
            </p:cNvSpPr>
            <p:nvPr/>
          </p:nvSpPr>
          <p:spPr bwMode="gray">
            <a:xfrm>
              <a:off x="2424415" y="2288177"/>
              <a:ext cx="476954" cy="665162"/>
            </a:xfrm>
            <a:custGeom>
              <a:avLst/>
              <a:gdLst>
                <a:gd name="T0" fmla="*/ 769 w 620"/>
                <a:gd name="T1" fmla="*/ 67469 h 838"/>
                <a:gd name="T2" fmla="*/ 5385 w 620"/>
                <a:gd name="T3" fmla="*/ 55562 h 838"/>
                <a:gd name="T4" fmla="*/ 11539 w 620"/>
                <a:gd name="T5" fmla="*/ 54769 h 838"/>
                <a:gd name="T6" fmla="*/ 15386 w 620"/>
                <a:gd name="T7" fmla="*/ 46037 h 838"/>
                <a:gd name="T8" fmla="*/ 35387 w 620"/>
                <a:gd name="T9" fmla="*/ 44450 h 838"/>
                <a:gd name="T10" fmla="*/ 30771 w 620"/>
                <a:gd name="T11" fmla="*/ 27781 h 838"/>
                <a:gd name="T12" fmla="*/ 41541 w 620"/>
                <a:gd name="T13" fmla="*/ 29369 h 838"/>
                <a:gd name="T14" fmla="*/ 43849 w 620"/>
                <a:gd name="T15" fmla="*/ 19050 h 838"/>
                <a:gd name="T16" fmla="*/ 32310 w 620"/>
                <a:gd name="T17" fmla="*/ 5556 h 838"/>
                <a:gd name="T18" fmla="*/ 43849 w 620"/>
                <a:gd name="T19" fmla="*/ 0 h 838"/>
                <a:gd name="T20" fmla="*/ 70774 w 620"/>
                <a:gd name="T21" fmla="*/ 7144 h 838"/>
                <a:gd name="T22" fmla="*/ 82313 w 620"/>
                <a:gd name="T23" fmla="*/ 19844 h 838"/>
                <a:gd name="T24" fmla="*/ 87698 w 620"/>
                <a:gd name="T25" fmla="*/ 13494 h 838"/>
                <a:gd name="T26" fmla="*/ 94622 w 620"/>
                <a:gd name="T27" fmla="*/ 19050 h 838"/>
                <a:gd name="T28" fmla="*/ 101545 w 620"/>
                <a:gd name="T29" fmla="*/ 15081 h 838"/>
                <a:gd name="T30" fmla="*/ 106930 w 620"/>
                <a:gd name="T31" fmla="*/ 26987 h 838"/>
                <a:gd name="T32" fmla="*/ 100776 w 620"/>
                <a:gd name="T33" fmla="*/ 41275 h 838"/>
                <a:gd name="T34" fmla="*/ 110776 w 620"/>
                <a:gd name="T35" fmla="*/ 52387 h 838"/>
                <a:gd name="T36" fmla="*/ 119239 w 620"/>
                <a:gd name="T37" fmla="*/ 82550 h 838"/>
                <a:gd name="T38" fmla="*/ 114623 w 620"/>
                <a:gd name="T39" fmla="*/ 115887 h 838"/>
                <a:gd name="T40" fmla="*/ 103853 w 620"/>
                <a:gd name="T41" fmla="*/ 116681 h 838"/>
                <a:gd name="T42" fmla="*/ 97699 w 620"/>
                <a:gd name="T43" fmla="*/ 124619 h 838"/>
                <a:gd name="T44" fmla="*/ 83852 w 620"/>
                <a:gd name="T45" fmla="*/ 123031 h 838"/>
                <a:gd name="T46" fmla="*/ 72312 w 620"/>
                <a:gd name="T47" fmla="*/ 134144 h 838"/>
                <a:gd name="T48" fmla="*/ 75389 w 620"/>
                <a:gd name="T49" fmla="*/ 149225 h 838"/>
                <a:gd name="T50" fmla="*/ 53080 w 620"/>
                <a:gd name="T51" fmla="*/ 153194 h 838"/>
                <a:gd name="T52" fmla="*/ 43849 w 620"/>
                <a:gd name="T53" fmla="*/ 166687 h 838"/>
                <a:gd name="T54" fmla="*/ 33848 w 620"/>
                <a:gd name="T55" fmla="*/ 165894 h 838"/>
                <a:gd name="T56" fmla="*/ 36156 w 620"/>
                <a:gd name="T57" fmla="*/ 135731 h 838"/>
                <a:gd name="T58" fmla="*/ 26156 w 620"/>
                <a:gd name="T59" fmla="*/ 122237 h 838"/>
                <a:gd name="T60" fmla="*/ 30002 w 620"/>
                <a:gd name="T61" fmla="*/ 118269 h 838"/>
                <a:gd name="T62" fmla="*/ 23848 w 620"/>
                <a:gd name="T63" fmla="*/ 109537 h 838"/>
                <a:gd name="T64" fmla="*/ 34618 w 620"/>
                <a:gd name="T65" fmla="*/ 97631 h 838"/>
                <a:gd name="T66" fmla="*/ 26925 w 620"/>
                <a:gd name="T67" fmla="*/ 95250 h 838"/>
                <a:gd name="T68" fmla="*/ 30002 w 620"/>
                <a:gd name="T69" fmla="*/ 85725 h 838"/>
                <a:gd name="T70" fmla="*/ 19232 w 620"/>
                <a:gd name="T71" fmla="*/ 69056 h 838"/>
                <a:gd name="T72" fmla="*/ 0 w 620"/>
                <a:gd name="T73" fmla="*/ 67469 h 838"/>
                <a:gd name="T74" fmla="*/ 769 w 620"/>
                <a:gd name="T75" fmla="*/ 67469 h 83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620"/>
                <a:gd name="T115" fmla="*/ 0 h 838"/>
                <a:gd name="T116" fmla="*/ 620 w 620"/>
                <a:gd name="T117" fmla="*/ 838 h 83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620" h="838">
                  <a:moveTo>
                    <a:pt x="1" y="338"/>
                  </a:moveTo>
                  <a:lnTo>
                    <a:pt x="30" y="278"/>
                  </a:lnTo>
                  <a:lnTo>
                    <a:pt x="63" y="276"/>
                  </a:lnTo>
                  <a:lnTo>
                    <a:pt x="82" y="232"/>
                  </a:lnTo>
                  <a:lnTo>
                    <a:pt x="184" y="224"/>
                  </a:lnTo>
                  <a:lnTo>
                    <a:pt x="163" y="140"/>
                  </a:lnTo>
                  <a:lnTo>
                    <a:pt x="218" y="148"/>
                  </a:lnTo>
                  <a:lnTo>
                    <a:pt x="228" y="94"/>
                  </a:lnTo>
                  <a:lnTo>
                    <a:pt x="170" y="29"/>
                  </a:lnTo>
                  <a:lnTo>
                    <a:pt x="228" y="0"/>
                  </a:lnTo>
                  <a:lnTo>
                    <a:pt x="370" y="34"/>
                  </a:lnTo>
                  <a:lnTo>
                    <a:pt x="428" y="100"/>
                  </a:lnTo>
                  <a:lnTo>
                    <a:pt x="458" y="65"/>
                  </a:lnTo>
                  <a:lnTo>
                    <a:pt x="493" y="94"/>
                  </a:lnTo>
                  <a:lnTo>
                    <a:pt x="525" y="75"/>
                  </a:lnTo>
                  <a:lnTo>
                    <a:pt x="554" y="136"/>
                  </a:lnTo>
                  <a:lnTo>
                    <a:pt x="522" y="209"/>
                  </a:lnTo>
                  <a:lnTo>
                    <a:pt x="575" y="261"/>
                  </a:lnTo>
                  <a:lnTo>
                    <a:pt x="620" y="416"/>
                  </a:lnTo>
                  <a:lnTo>
                    <a:pt x="593" y="583"/>
                  </a:lnTo>
                  <a:lnTo>
                    <a:pt x="537" y="585"/>
                  </a:lnTo>
                  <a:lnTo>
                    <a:pt x="510" y="627"/>
                  </a:lnTo>
                  <a:lnTo>
                    <a:pt x="439" y="620"/>
                  </a:lnTo>
                  <a:lnTo>
                    <a:pt x="376" y="673"/>
                  </a:lnTo>
                  <a:lnTo>
                    <a:pt x="395" y="750"/>
                  </a:lnTo>
                  <a:lnTo>
                    <a:pt x="274" y="771"/>
                  </a:lnTo>
                  <a:lnTo>
                    <a:pt x="228" y="838"/>
                  </a:lnTo>
                  <a:lnTo>
                    <a:pt x="178" y="836"/>
                  </a:lnTo>
                  <a:lnTo>
                    <a:pt x="191" y="683"/>
                  </a:lnTo>
                  <a:lnTo>
                    <a:pt x="134" y="616"/>
                  </a:lnTo>
                  <a:lnTo>
                    <a:pt x="157" y="593"/>
                  </a:lnTo>
                  <a:lnTo>
                    <a:pt x="126" y="551"/>
                  </a:lnTo>
                  <a:lnTo>
                    <a:pt x="182" y="495"/>
                  </a:lnTo>
                  <a:lnTo>
                    <a:pt x="138" y="480"/>
                  </a:lnTo>
                  <a:lnTo>
                    <a:pt x="157" y="435"/>
                  </a:lnTo>
                  <a:lnTo>
                    <a:pt x="103" y="347"/>
                  </a:lnTo>
                  <a:lnTo>
                    <a:pt x="0" y="339"/>
                  </a:lnTo>
                  <a:lnTo>
                    <a:pt x="1" y="338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64" name="Freeform 32"/>
            <p:cNvSpPr>
              <a:spLocks/>
            </p:cNvSpPr>
            <p:nvPr/>
          </p:nvSpPr>
          <p:spPr bwMode="gray">
            <a:xfrm>
              <a:off x="3261391" y="2067514"/>
              <a:ext cx="532342" cy="622300"/>
            </a:xfrm>
            <a:custGeom>
              <a:avLst/>
              <a:gdLst>
                <a:gd name="T0" fmla="*/ 3073 w 693"/>
                <a:gd name="T1" fmla="*/ 95921 h 785"/>
                <a:gd name="T2" fmla="*/ 6145 w 693"/>
                <a:gd name="T3" fmla="*/ 108605 h 785"/>
                <a:gd name="T4" fmla="*/ 15363 w 693"/>
                <a:gd name="T5" fmla="*/ 113362 h 785"/>
                <a:gd name="T6" fmla="*/ 13059 w 693"/>
                <a:gd name="T7" fmla="*/ 120496 h 785"/>
                <a:gd name="T8" fmla="*/ 45322 w 693"/>
                <a:gd name="T9" fmla="*/ 138729 h 785"/>
                <a:gd name="T10" fmla="*/ 56845 w 693"/>
                <a:gd name="T11" fmla="*/ 155377 h 785"/>
                <a:gd name="T12" fmla="*/ 78353 w 693"/>
                <a:gd name="T13" fmla="*/ 145864 h 785"/>
                <a:gd name="T14" fmla="*/ 109080 w 693"/>
                <a:gd name="T15" fmla="*/ 143486 h 785"/>
                <a:gd name="T16" fmla="*/ 125980 w 693"/>
                <a:gd name="T17" fmla="*/ 119704 h 785"/>
                <a:gd name="T18" fmla="*/ 132893 w 693"/>
                <a:gd name="T19" fmla="*/ 98300 h 785"/>
                <a:gd name="T20" fmla="*/ 129821 w 693"/>
                <a:gd name="T21" fmla="*/ 86409 h 785"/>
                <a:gd name="T22" fmla="*/ 119066 w 693"/>
                <a:gd name="T23" fmla="*/ 76103 h 785"/>
                <a:gd name="T24" fmla="*/ 129053 w 693"/>
                <a:gd name="T25" fmla="*/ 67383 h 785"/>
                <a:gd name="T26" fmla="*/ 128284 w 693"/>
                <a:gd name="T27" fmla="*/ 57077 h 785"/>
                <a:gd name="T28" fmla="*/ 118298 w 693"/>
                <a:gd name="T29" fmla="*/ 56284 h 785"/>
                <a:gd name="T30" fmla="*/ 107544 w 693"/>
                <a:gd name="T31" fmla="*/ 60248 h 785"/>
                <a:gd name="T32" fmla="*/ 99862 w 693"/>
                <a:gd name="T33" fmla="*/ 45979 h 785"/>
                <a:gd name="T34" fmla="*/ 95253 w 693"/>
                <a:gd name="T35" fmla="*/ 50735 h 785"/>
                <a:gd name="T36" fmla="*/ 86803 w 693"/>
                <a:gd name="T37" fmla="*/ 42015 h 785"/>
                <a:gd name="T38" fmla="*/ 79890 w 693"/>
                <a:gd name="T39" fmla="*/ 44393 h 785"/>
                <a:gd name="T40" fmla="*/ 76817 w 693"/>
                <a:gd name="T41" fmla="*/ 33295 h 785"/>
                <a:gd name="T42" fmla="*/ 82962 w 693"/>
                <a:gd name="T43" fmla="*/ 27746 h 785"/>
                <a:gd name="T44" fmla="*/ 74513 w 693"/>
                <a:gd name="T45" fmla="*/ 13477 h 785"/>
                <a:gd name="T46" fmla="*/ 68367 w 693"/>
                <a:gd name="T47" fmla="*/ 15062 h 785"/>
                <a:gd name="T48" fmla="*/ 66063 w 693"/>
                <a:gd name="T49" fmla="*/ 3964 h 785"/>
                <a:gd name="T50" fmla="*/ 56845 w 693"/>
                <a:gd name="T51" fmla="*/ 0 h 785"/>
                <a:gd name="T52" fmla="*/ 46090 w 693"/>
                <a:gd name="T53" fmla="*/ 0 h 785"/>
                <a:gd name="T54" fmla="*/ 43018 w 693"/>
                <a:gd name="T55" fmla="*/ 7135 h 785"/>
                <a:gd name="T56" fmla="*/ 21509 w 693"/>
                <a:gd name="T57" fmla="*/ 8720 h 785"/>
                <a:gd name="T58" fmla="*/ 19972 w 693"/>
                <a:gd name="T59" fmla="*/ 13477 h 785"/>
                <a:gd name="T60" fmla="*/ 16132 w 693"/>
                <a:gd name="T61" fmla="*/ 20611 h 785"/>
                <a:gd name="T62" fmla="*/ 21509 w 693"/>
                <a:gd name="T63" fmla="*/ 23782 h 785"/>
                <a:gd name="T64" fmla="*/ 23813 w 693"/>
                <a:gd name="T65" fmla="*/ 36466 h 785"/>
                <a:gd name="T66" fmla="*/ 14595 w 693"/>
                <a:gd name="T67" fmla="*/ 42015 h 785"/>
                <a:gd name="T68" fmla="*/ 19204 w 693"/>
                <a:gd name="T69" fmla="*/ 47564 h 785"/>
                <a:gd name="T70" fmla="*/ 13059 w 693"/>
                <a:gd name="T71" fmla="*/ 48357 h 785"/>
                <a:gd name="T72" fmla="*/ 0 w 693"/>
                <a:gd name="T73" fmla="*/ 85616 h 785"/>
                <a:gd name="T74" fmla="*/ 3073 w 693"/>
                <a:gd name="T75" fmla="*/ 95921 h 78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693"/>
                <a:gd name="T115" fmla="*/ 0 h 785"/>
                <a:gd name="T116" fmla="*/ 693 w 693"/>
                <a:gd name="T117" fmla="*/ 785 h 78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693" h="785">
                  <a:moveTo>
                    <a:pt x="17" y="486"/>
                  </a:moveTo>
                  <a:lnTo>
                    <a:pt x="34" y="549"/>
                  </a:lnTo>
                  <a:lnTo>
                    <a:pt x="80" y="574"/>
                  </a:lnTo>
                  <a:lnTo>
                    <a:pt x="69" y="609"/>
                  </a:lnTo>
                  <a:lnTo>
                    <a:pt x="236" y="703"/>
                  </a:lnTo>
                  <a:lnTo>
                    <a:pt x="299" y="785"/>
                  </a:lnTo>
                  <a:lnTo>
                    <a:pt x="409" y="736"/>
                  </a:lnTo>
                  <a:lnTo>
                    <a:pt x="570" y="726"/>
                  </a:lnTo>
                  <a:lnTo>
                    <a:pt x="658" y="605"/>
                  </a:lnTo>
                  <a:lnTo>
                    <a:pt x="693" y="496"/>
                  </a:lnTo>
                  <a:lnTo>
                    <a:pt x="679" y="436"/>
                  </a:lnTo>
                  <a:lnTo>
                    <a:pt x="622" y="384"/>
                  </a:lnTo>
                  <a:lnTo>
                    <a:pt x="672" y="340"/>
                  </a:lnTo>
                  <a:lnTo>
                    <a:pt x="670" y="290"/>
                  </a:lnTo>
                  <a:lnTo>
                    <a:pt x="618" y="286"/>
                  </a:lnTo>
                  <a:lnTo>
                    <a:pt x="562" y="306"/>
                  </a:lnTo>
                  <a:lnTo>
                    <a:pt x="522" y="235"/>
                  </a:lnTo>
                  <a:lnTo>
                    <a:pt x="497" y="258"/>
                  </a:lnTo>
                  <a:lnTo>
                    <a:pt x="453" y="215"/>
                  </a:lnTo>
                  <a:lnTo>
                    <a:pt x="418" y="225"/>
                  </a:lnTo>
                  <a:lnTo>
                    <a:pt x="401" y="169"/>
                  </a:lnTo>
                  <a:lnTo>
                    <a:pt x="434" y="142"/>
                  </a:lnTo>
                  <a:lnTo>
                    <a:pt x="390" y="71"/>
                  </a:lnTo>
                  <a:lnTo>
                    <a:pt x="357" y="77"/>
                  </a:lnTo>
                  <a:lnTo>
                    <a:pt x="345" y="22"/>
                  </a:lnTo>
                  <a:lnTo>
                    <a:pt x="299" y="2"/>
                  </a:lnTo>
                  <a:lnTo>
                    <a:pt x="242" y="0"/>
                  </a:lnTo>
                  <a:lnTo>
                    <a:pt x="226" y="37"/>
                  </a:lnTo>
                  <a:lnTo>
                    <a:pt x="115" y="47"/>
                  </a:lnTo>
                  <a:lnTo>
                    <a:pt x="104" y="71"/>
                  </a:lnTo>
                  <a:lnTo>
                    <a:pt x="84" y="106"/>
                  </a:lnTo>
                  <a:lnTo>
                    <a:pt x="115" y="121"/>
                  </a:lnTo>
                  <a:lnTo>
                    <a:pt x="127" y="187"/>
                  </a:lnTo>
                  <a:lnTo>
                    <a:pt x="77" y="212"/>
                  </a:lnTo>
                  <a:lnTo>
                    <a:pt x="100" y="240"/>
                  </a:lnTo>
                  <a:lnTo>
                    <a:pt x="71" y="246"/>
                  </a:lnTo>
                  <a:lnTo>
                    <a:pt x="0" y="432"/>
                  </a:lnTo>
                  <a:lnTo>
                    <a:pt x="17" y="486"/>
                  </a:lnTo>
                  <a:close/>
                </a:path>
              </a:pathLst>
            </a:custGeom>
            <a:solidFill>
              <a:schemeClr val="hlink"/>
            </a:solidFill>
            <a:ln w="9525">
              <a:solidFill>
                <a:schemeClr val="hlink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65" name="Freeform 33"/>
            <p:cNvSpPr>
              <a:spLocks/>
            </p:cNvSpPr>
            <p:nvPr/>
          </p:nvSpPr>
          <p:spPr bwMode="gray">
            <a:xfrm>
              <a:off x="2089008" y="2477089"/>
              <a:ext cx="484647" cy="508000"/>
            </a:xfrm>
            <a:custGeom>
              <a:avLst/>
              <a:gdLst>
                <a:gd name="T0" fmla="*/ 0 w 629"/>
                <a:gd name="T1" fmla="*/ 69741 h 641"/>
                <a:gd name="T2" fmla="*/ 3082 w 629"/>
                <a:gd name="T3" fmla="*/ 91931 h 641"/>
                <a:gd name="T4" fmla="*/ 24656 w 629"/>
                <a:gd name="T5" fmla="*/ 104612 h 641"/>
                <a:gd name="T6" fmla="*/ 24656 w 629"/>
                <a:gd name="T7" fmla="*/ 112537 h 641"/>
                <a:gd name="T8" fmla="*/ 30050 w 629"/>
                <a:gd name="T9" fmla="*/ 114122 h 641"/>
                <a:gd name="T10" fmla="*/ 26968 w 629"/>
                <a:gd name="T11" fmla="*/ 121254 h 641"/>
                <a:gd name="T12" fmla="*/ 43148 w 629"/>
                <a:gd name="T13" fmla="*/ 118877 h 641"/>
                <a:gd name="T14" fmla="*/ 50083 w 629"/>
                <a:gd name="T15" fmla="*/ 126802 h 641"/>
                <a:gd name="T16" fmla="*/ 58558 w 629"/>
                <a:gd name="T17" fmla="*/ 116499 h 641"/>
                <a:gd name="T18" fmla="*/ 77050 w 629"/>
                <a:gd name="T19" fmla="*/ 122047 h 641"/>
                <a:gd name="T20" fmla="*/ 83985 w 629"/>
                <a:gd name="T21" fmla="*/ 113329 h 641"/>
                <a:gd name="T22" fmla="*/ 118658 w 629"/>
                <a:gd name="T23" fmla="*/ 118084 h 641"/>
                <a:gd name="T24" fmla="*/ 121740 w 629"/>
                <a:gd name="T25" fmla="*/ 87969 h 641"/>
                <a:gd name="T26" fmla="*/ 109412 w 629"/>
                <a:gd name="T27" fmla="*/ 74496 h 641"/>
                <a:gd name="T28" fmla="*/ 114805 w 629"/>
                <a:gd name="T29" fmla="*/ 70534 h 641"/>
                <a:gd name="T30" fmla="*/ 108641 w 629"/>
                <a:gd name="T31" fmla="*/ 62608 h 641"/>
                <a:gd name="T32" fmla="*/ 118658 w 629"/>
                <a:gd name="T33" fmla="*/ 50721 h 641"/>
                <a:gd name="T34" fmla="*/ 110953 w 629"/>
                <a:gd name="T35" fmla="*/ 47551 h 641"/>
                <a:gd name="T36" fmla="*/ 114035 w 629"/>
                <a:gd name="T37" fmla="*/ 38833 h 641"/>
                <a:gd name="T38" fmla="*/ 104018 w 629"/>
                <a:gd name="T39" fmla="*/ 21398 h 641"/>
                <a:gd name="T40" fmla="*/ 83985 w 629"/>
                <a:gd name="T41" fmla="*/ 19813 h 641"/>
                <a:gd name="T42" fmla="*/ 90149 w 629"/>
                <a:gd name="T43" fmla="*/ 7925 h 641"/>
                <a:gd name="T44" fmla="*/ 67804 w 629"/>
                <a:gd name="T45" fmla="*/ 0 h 641"/>
                <a:gd name="T46" fmla="*/ 43148 w 629"/>
                <a:gd name="T47" fmla="*/ 11095 h 641"/>
                <a:gd name="T48" fmla="*/ 45460 w 629"/>
                <a:gd name="T49" fmla="*/ 22190 h 641"/>
                <a:gd name="T50" fmla="*/ 36214 w 629"/>
                <a:gd name="T51" fmla="*/ 34078 h 641"/>
                <a:gd name="T52" fmla="*/ 26968 w 629"/>
                <a:gd name="T53" fmla="*/ 30908 h 641"/>
                <a:gd name="T54" fmla="*/ 17722 w 629"/>
                <a:gd name="T55" fmla="*/ 36456 h 641"/>
                <a:gd name="T56" fmla="*/ 12328 w 629"/>
                <a:gd name="T57" fmla="*/ 68949 h 641"/>
                <a:gd name="T58" fmla="*/ 0 w 629"/>
                <a:gd name="T59" fmla="*/ 69741 h 64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29"/>
                <a:gd name="T91" fmla="*/ 0 h 641"/>
                <a:gd name="T92" fmla="*/ 629 w 629"/>
                <a:gd name="T93" fmla="*/ 641 h 64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29" h="641">
                  <a:moveTo>
                    <a:pt x="0" y="355"/>
                  </a:moveTo>
                  <a:lnTo>
                    <a:pt x="13" y="464"/>
                  </a:lnTo>
                  <a:lnTo>
                    <a:pt x="128" y="529"/>
                  </a:lnTo>
                  <a:lnTo>
                    <a:pt x="128" y="568"/>
                  </a:lnTo>
                  <a:lnTo>
                    <a:pt x="155" y="579"/>
                  </a:lnTo>
                  <a:lnTo>
                    <a:pt x="140" y="614"/>
                  </a:lnTo>
                  <a:lnTo>
                    <a:pt x="224" y="602"/>
                  </a:lnTo>
                  <a:lnTo>
                    <a:pt x="259" y="641"/>
                  </a:lnTo>
                  <a:lnTo>
                    <a:pt x="301" y="591"/>
                  </a:lnTo>
                  <a:lnTo>
                    <a:pt x="397" y="618"/>
                  </a:lnTo>
                  <a:lnTo>
                    <a:pt x="436" y="574"/>
                  </a:lnTo>
                  <a:lnTo>
                    <a:pt x="614" y="598"/>
                  </a:lnTo>
                  <a:lnTo>
                    <a:pt x="629" y="445"/>
                  </a:lnTo>
                  <a:lnTo>
                    <a:pt x="568" y="378"/>
                  </a:lnTo>
                  <a:lnTo>
                    <a:pt x="595" y="359"/>
                  </a:lnTo>
                  <a:lnTo>
                    <a:pt x="564" y="316"/>
                  </a:lnTo>
                  <a:lnTo>
                    <a:pt x="614" y="257"/>
                  </a:lnTo>
                  <a:lnTo>
                    <a:pt x="576" y="240"/>
                  </a:lnTo>
                  <a:lnTo>
                    <a:pt x="591" y="197"/>
                  </a:lnTo>
                  <a:lnTo>
                    <a:pt x="537" y="109"/>
                  </a:lnTo>
                  <a:lnTo>
                    <a:pt x="434" y="101"/>
                  </a:lnTo>
                  <a:lnTo>
                    <a:pt x="466" y="42"/>
                  </a:lnTo>
                  <a:lnTo>
                    <a:pt x="351" y="0"/>
                  </a:lnTo>
                  <a:lnTo>
                    <a:pt x="224" y="59"/>
                  </a:lnTo>
                  <a:lnTo>
                    <a:pt x="236" y="113"/>
                  </a:lnTo>
                  <a:lnTo>
                    <a:pt x="186" y="172"/>
                  </a:lnTo>
                  <a:lnTo>
                    <a:pt x="140" y="159"/>
                  </a:lnTo>
                  <a:lnTo>
                    <a:pt x="92" y="184"/>
                  </a:lnTo>
                  <a:lnTo>
                    <a:pt x="61" y="349"/>
                  </a:lnTo>
                  <a:lnTo>
                    <a:pt x="0" y="355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66" name="Freeform 35"/>
            <p:cNvSpPr>
              <a:spLocks/>
            </p:cNvSpPr>
            <p:nvPr/>
          </p:nvSpPr>
          <p:spPr bwMode="gray">
            <a:xfrm>
              <a:off x="2001310" y="1997664"/>
              <a:ext cx="598501" cy="525462"/>
            </a:xfrm>
            <a:custGeom>
              <a:avLst/>
              <a:gdLst>
                <a:gd name="T0" fmla="*/ 1541 w 777"/>
                <a:gd name="T1" fmla="*/ 60325 h 662"/>
                <a:gd name="T2" fmla="*/ 24649 w 777"/>
                <a:gd name="T3" fmla="*/ 61912 h 662"/>
                <a:gd name="T4" fmla="*/ 25419 w 777"/>
                <a:gd name="T5" fmla="*/ 72231 h 662"/>
                <a:gd name="T6" fmla="*/ 29270 w 777"/>
                <a:gd name="T7" fmla="*/ 69056 h 662"/>
                <a:gd name="T8" fmla="*/ 40054 w 777"/>
                <a:gd name="T9" fmla="*/ 73025 h 662"/>
                <a:gd name="T10" fmla="*/ 48527 w 777"/>
                <a:gd name="T11" fmla="*/ 95250 h 662"/>
                <a:gd name="T12" fmla="*/ 45446 w 777"/>
                <a:gd name="T13" fmla="*/ 116681 h 662"/>
                <a:gd name="T14" fmla="*/ 57000 w 777"/>
                <a:gd name="T15" fmla="*/ 117475 h 662"/>
                <a:gd name="T16" fmla="*/ 65473 w 777"/>
                <a:gd name="T17" fmla="*/ 131762 h 662"/>
                <a:gd name="T18" fmla="*/ 90122 w 777"/>
                <a:gd name="T19" fmla="*/ 120650 h 662"/>
                <a:gd name="T20" fmla="*/ 110919 w 777"/>
                <a:gd name="T21" fmla="*/ 128587 h 662"/>
                <a:gd name="T22" fmla="*/ 118622 w 777"/>
                <a:gd name="T23" fmla="*/ 128587 h 662"/>
                <a:gd name="T24" fmla="*/ 121703 w 777"/>
                <a:gd name="T25" fmla="*/ 119062 h 662"/>
                <a:gd name="T26" fmla="*/ 141730 w 777"/>
                <a:gd name="T27" fmla="*/ 117475 h 662"/>
                <a:gd name="T28" fmla="*/ 137879 w 777"/>
                <a:gd name="T29" fmla="*/ 100012 h 662"/>
                <a:gd name="T30" fmla="*/ 147892 w 777"/>
                <a:gd name="T31" fmla="*/ 103187 h 662"/>
                <a:gd name="T32" fmla="*/ 150203 w 777"/>
                <a:gd name="T33" fmla="*/ 91281 h 662"/>
                <a:gd name="T34" fmla="*/ 138649 w 777"/>
                <a:gd name="T35" fmla="*/ 78581 h 662"/>
                <a:gd name="T36" fmla="*/ 150203 w 777"/>
                <a:gd name="T37" fmla="*/ 72231 h 662"/>
                <a:gd name="T38" fmla="*/ 146352 w 777"/>
                <a:gd name="T39" fmla="*/ 65881 h 662"/>
                <a:gd name="T40" fmla="*/ 134027 w 777"/>
                <a:gd name="T41" fmla="*/ 64294 h 662"/>
                <a:gd name="T42" fmla="*/ 114770 w 777"/>
                <a:gd name="T43" fmla="*/ 63500 h 662"/>
                <a:gd name="T44" fmla="*/ 108608 w 777"/>
                <a:gd name="T45" fmla="*/ 69850 h 662"/>
                <a:gd name="T46" fmla="*/ 102446 w 777"/>
                <a:gd name="T47" fmla="*/ 57150 h 662"/>
                <a:gd name="T48" fmla="*/ 94743 w 777"/>
                <a:gd name="T49" fmla="*/ 53181 h 662"/>
                <a:gd name="T50" fmla="*/ 90122 w 777"/>
                <a:gd name="T51" fmla="*/ 57944 h 662"/>
                <a:gd name="T52" fmla="*/ 86270 w 777"/>
                <a:gd name="T53" fmla="*/ 42069 h 662"/>
                <a:gd name="T54" fmla="*/ 92433 w 777"/>
                <a:gd name="T55" fmla="*/ 34925 h 662"/>
                <a:gd name="T56" fmla="*/ 85500 w 777"/>
                <a:gd name="T57" fmla="*/ 21431 h 662"/>
                <a:gd name="T58" fmla="*/ 77797 w 777"/>
                <a:gd name="T59" fmla="*/ 17462 h 662"/>
                <a:gd name="T60" fmla="*/ 71635 w 777"/>
                <a:gd name="T61" fmla="*/ 24606 h 662"/>
                <a:gd name="T62" fmla="*/ 57000 w 777"/>
                <a:gd name="T63" fmla="*/ 22225 h 662"/>
                <a:gd name="T64" fmla="*/ 48527 w 777"/>
                <a:gd name="T65" fmla="*/ 7937 h 662"/>
                <a:gd name="T66" fmla="*/ 40054 w 777"/>
                <a:gd name="T67" fmla="*/ 5556 h 662"/>
                <a:gd name="T68" fmla="*/ 41595 w 777"/>
                <a:gd name="T69" fmla="*/ 0 h 662"/>
                <a:gd name="T70" fmla="*/ 23878 w 777"/>
                <a:gd name="T71" fmla="*/ 3969 h 662"/>
                <a:gd name="T72" fmla="*/ 20027 w 777"/>
                <a:gd name="T73" fmla="*/ 8731 h 662"/>
                <a:gd name="T74" fmla="*/ 22338 w 777"/>
                <a:gd name="T75" fmla="*/ 32544 h 662"/>
                <a:gd name="T76" fmla="*/ 16176 w 777"/>
                <a:gd name="T77" fmla="*/ 31750 h 662"/>
                <a:gd name="T78" fmla="*/ 16946 w 777"/>
                <a:gd name="T79" fmla="*/ 38894 h 662"/>
                <a:gd name="T80" fmla="*/ 0 w 777"/>
                <a:gd name="T81" fmla="*/ 57150 h 662"/>
                <a:gd name="T82" fmla="*/ 1541 w 777"/>
                <a:gd name="T83" fmla="*/ 60325 h 66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777"/>
                <a:gd name="T127" fmla="*/ 0 h 662"/>
                <a:gd name="T128" fmla="*/ 777 w 777"/>
                <a:gd name="T129" fmla="*/ 662 h 662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777" h="662">
                  <a:moveTo>
                    <a:pt x="5" y="303"/>
                  </a:moveTo>
                  <a:lnTo>
                    <a:pt x="126" y="309"/>
                  </a:lnTo>
                  <a:lnTo>
                    <a:pt x="132" y="365"/>
                  </a:lnTo>
                  <a:lnTo>
                    <a:pt x="151" y="348"/>
                  </a:lnTo>
                  <a:lnTo>
                    <a:pt x="205" y="369"/>
                  </a:lnTo>
                  <a:lnTo>
                    <a:pt x="251" y="480"/>
                  </a:lnTo>
                  <a:lnTo>
                    <a:pt x="236" y="586"/>
                  </a:lnTo>
                  <a:lnTo>
                    <a:pt x="295" y="591"/>
                  </a:lnTo>
                  <a:lnTo>
                    <a:pt x="339" y="662"/>
                  </a:lnTo>
                  <a:lnTo>
                    <a:pt x="466" y="605"/>
                  </a:lnTo>
                  <a:lnTo>
                    <a:pt x="575" y="647"/>
                  </a:lnTo>
                  <a:lnTo>
                    <a:pt x="614" y="645"/>
                  </a:lnTo>
                  <a:lnTo>
                    <a:pt x="631" y="599"/>
                  </a:lnTo>
                  <a:lnTo>
                    <a:pt x="733" y="591"/>
                  </a:lnTo>
                  <a:lnTo>
                    <a:pt x="716" y="507"/>
                  </a:lnTo>
                  <a:lnTo>
                    <a:pt x="767" y="520"/>
                  </a:lnTo>
                  <a:lnTo>
                    <a:pt x="777" y="461"/>
                  </a:lnTo>
                  <a:lnTo>
                    <a:pt x="717" y="396"/>
                  </a:lnTo>
                  <a:lnTo>
                    <a:pt x="777" y="367"/>
                  </a:lnTo>
                  <a:lnTo>
                    <a:pt x="758" y="332"/>
                  </a:lnTo>
                  <a:lnTo>
                    <a:pt x="694" y="321"/>
                  </a:lnTo>
                  <a:lnTo>
                    <a:pt x="595" y="317"/>
                  </a:lnTo>
                  <a:lnTo>
                    <a:pt x="564" y="353"/>
                  </a:lnTo>
                  <a:lnTo>
                    <a:pt x="529" y="286"/>
                  </a:lnTo>
                  <a:lnTo>
                    <a:pt x="491" y="267"/>
                  </a:lnTo>
                  <a:lnTo>
                    <a:pt x="466" y="290"/>
                  </a:lnTo>
                  <a:lnTo>
                    <a:pt x="447" y="215"/>
                  </a:lnTo>
                  <a:lnTo>
                    <a:pt x="479" y="177"/>
                  </a:lnTo>
                  <a:lnTo>
                    <a:pt x="443" y="110"/>
                  </a:lnTo>
                  <a:lnTo>
                    <a:pt x="403" y="90"/>
                  </a:lnTo>
                  <a:lnTo>
                    <a:pt x="370" y="127"/>
                  </a:lnTo>
                  <a:lnTo>
                    <a:pt x="293" y="113"/>
                  </a:lnTo>
                  <a:lnTo>
                    <a:pt x="251" y="39"/>
                  </a:lnTo>
                  <a:lnTo>
                    <a:pt x="205" y="31"/>
                  </a:lnTo>
                  <a:lnTo>
                    <a:pt x="216" y="0"/>
                  </a:lnTo>
                  <a:lnTo>
                    <a:pt x="124" y="17"/>
                  </a:lnTo>
                  <a:lnTo>
                    <a:pt x="103" y="46"/>
                  </a:lnTo>
                  <a:lnTo>
                    <a:pt x="113" y="161"/>
                  </a:lnTo>
                  <a:lnTo>
                    <a:pt x="82" y="159"/>
                  </a:lnTo>
                  <a:lnTo>
                    <a:pt x="88" y="198"/>
                  </a:lnTo>
                  <a:lnTo>
                    <a:pt x="0" y="286"/>
                  </a:lnTo>
                  <a:lnTo>
                    <a:pt x="5" y="303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67" name="Freeform 36"/>
            <p:cNvSpPr>
              <a:spLocks/>
            </p:cNvSpPr>
            <p:nvPr/>
          </p:nvSpPr>
          <p:spPr bwMode="gray">
            <a:xfrm>
              <a:off x="2339793" y="1891302"/>
              <a:ext cx="578498" cy="479425"/>
            </a:xfrm>
            <a:custGeom>
              <a:avLst/>
              <a:gdLst>
                <a:gd name="T0" fmla="*/ 768 w 753"/>
                <a:gd name="T1" fmla="*/ 44598 h 602"/>
                <a:gd name="T2" fmla="*/ 11524 w 753"/>
                <a:gd name="T3" fmla="*/ 35837 h 602"/>
                <a:gd name="T4" fmla="*/ 30730 w 753"/>
                <a:gd name="T5" fmla="*/ 35041 h 602"/>
                <a:gd name="T6" fmla="*/ 40718 w 753"/>
                <a:gd name="T7" fmla="*/ 23095 h 602"/>
                <a:gd name="T8" fmla="*/ 43791 w 753"/>
                <a:gd name="T9" fmla="*/ 7964 h 602"/>
                <a:gd name="T10" fmla="*/ 62997 w 753"/>
                <a:gd name="T11" fmla="*/ 0 h 602"/>
                <a:gd name="T12" fmla="*/ 66838 w 753"/>
                <a:gd name="T13" fmla="*/ 6371 h 602"/>
                <a:gd name="T14" fmla="*/ 79131 w 753"/>
                <a:gd name="T15" fmla="*/ 3186 h 602"/>
                <a:gd name="T16" fmla="*/ 91423 w 753"/>
                <a:gd name="T17" fmla="*/ 19910 h 602"/>
                <a:gd name="T18" fmla="*/ 85277 w 753"/>
                <a:gd name="T19" fmla="*/ 30263 h 602"/>
                <a:gd name="T20" fmla="*/ 128299 w 753"/>
                <a:gd name="T21" fmla="*/ 25484 h 602"/>
                <a:gd name="T22" fmla="*/ 135982 w 753"/>
                <a:gd name="T23" fmla="*/ 28670 h 602"/>
                <a:gd name="T24" fmla="*/ 144432 w 753"/>
                <a:gd name="T25" fmla="*/ 52562 h 602"/>
                <a:gd name="T26" fmla="*/ 133677 w 753"/>
                <a:gd name="T27" fmla="*/ 63711 h 602"/>
                <a:gd name="T28" fmla="*/ 135213 w 753"/>
                <a:gd name="T29" fmla="*/ 78046 h 602"/>
                <a:gd name="T30" fmla="*/ 119848 w 753"/>
                <a:gd name="T31" fmla="*/ 86806 h 602"/>
                <a:gd name="T32" fmla="*/ 130604 w 753"/>
                <a:gd name="T33" fmla="*/ 108309 h 602"/>
                <a:gd name="T34" fmla="*/ 119848 w 753"/>
                <a:gd name="T35" fmla="*/ 110698 h 602"/>
                <a:gd name="T36" fmla="*/ 119080 w 753"/>
                <a:gd name="T37" fmla="*/ 111494 h 602"/>
                <a:gd name="T38" fmla="*/ 121385 w 753"/>
                <a:gd name="T39" fmla="*/ 115476 h 602"/>
                <a:gd name="T40" fmla="*/ 115239 w 753"/>
                <a:gd name="T41" fmla="*/ 118662 h 602"/>
                <a:gd name="T42" fmla="*/ 108324 w 753"/>
                <a:gd name="T43" fmla="*/ 113087 h 602"/>
                <a:gd name="T44" fmla="*/ 102947 w 753"/>
                <a:gd name="T45" fmla="*/ 121051 h 602"/>
                <a:gd name="T46" fmla="*/ 92191 w 753"/>
                <a:gd name="T47" fmla="*/ 106716 h 602"/>
                <a:gd name="T48" fmla="*/ 65302 w 753"/>
                <a:gd name="T49" fmla="*/ 100345 h 602"/>
                <a:gd name="T50" fmla="*/ 60692 w 753"/>
                <a:gd name="T51" fmla="*/ 92381 h 602"/>
                <a:gd name="T52" fmla="*/ 49168 w 753"/>
                <a:gd name="T53" fmla="*/ 91584 h 602"/>
                <a:gd name="T54" fmla="*/ 29194 w 753"/>
                <a:gd name="T55" fmla="*/ 89992 h 602"/>
                <a:gd name="T56" fmla="*/ 23816 w 753"/>
                <a:gd name="T57" fmla="*/ 97159 h 602"/>
                <a:gd name="T58" fmla="*/ 16902 w 753"/>
                <a:gd name="T59" fmla="*/ 83621 h 602"/>
                <a:gd name="T60" fmla="*/ 9219 w 753"/>
                <a:gd name="T61" fmla="*/ 79639 h 602"/>
                <a:gd name="T62" fmla="*/ 4610 w 753"/>
                <a:gd name="T63" fmla="*/ 84417 h 602"/>
                <a:gd name="T64" fmla="*/ 768 w 753"/>
                <a:gd name="T65" fmla="*/ 70082 h 602"/>
                <a:gd name="T66" fmla="*/ 6914 w 753"/>
                <a:gd name="T67" fmla="*/ 62118 h 602"/>
                <a:gd name="T68" fmla="*/ 0 w 753"/>
                <a:gd name="T69" fmla="*/ 47783 h 602"/>
                <a:gd name="T70" fmla="*/ 768 w 753"/>
                <a:gd name="T71" fmla="*/ 44598 h 60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753"/>
                <a:gd name="T109" fmla="*/ 0 h 602"/>
                <a:gd name="T110" fmla="*/ 753 w 753"/>
                <a:gd name="T111" fmla="*/ 602 h 60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753" h="602">
                  <a:moveTo>
                    <a:pt x="6" y="224"/>
                  </a:moveTo>
                  <a:lnTo>
                    <a:pt x="63" y="180"/>
                  </a:lnTo>
                  <a:lnTo>
                    <a:pt x="161" y="174"/>
                  </a:lnTo>
                  <a:lnTo>
                    <a:pt x="215" y="113"/>
                  </a:lnTo>
                  <a:lnTo>
                    <a:pt x="229" y="40"/>
                  </a:lnTo>
                  <a:lnTo>
                    <a:pt x="330" y="0"/>
                  </a:lnTo>
                  <a:lnTo>
                    <a:pt x="351" y="29"/>
                  </a:lnTo>
                  <a:lnTo>
                    <a:pt x="415" y="15"/>
                  </a:lnTo>
                  <a:lnTo>
                    <a:pt x="476" y="100"/>
                  </a:lnTo>
                  <a:lnTo>
                    <a:pt x="444" y="149"/>
                  </a:lnTo>
                  <a:lnTo>
                    <a:pt x="668" y="125"/>
                  </a:lnTo>
                  <a:lnTo>
                    <a:pt x="708" y="144"/>
                  </a:lnTo>
                  <a:lnTo>
                    <a:pt x="753" y="261"/>
                  </a:lnTo>
                  <a:lnTo>
                    <a:pt x="699" y="316"/>
                  </a:lnTo>
                  <a:lnTo>
                    <a:pt x="705" y="389"/>
                  </a:lnTo>
                  <a:lnTo>
                    <a:pt x="624" y="432"/>
                  </a:lnTo>
                  <a:lnTo>
                    <a:pt x="682" y="541"/>
                  </a:lnTo>
                  <a:lnTo>
                    <a:pt x="626" y="554"/>
                  </a:lnTo>
                  <a:lnTo>
                    <a:pt x="622" y="556"/>
                  </a:lnTo>
                  <a:lnTo>
                    <a:pt x="634" y="576"/>
                  </a:lnTo>
                  <a:lnTo>
                    <a:pt x="603" y="593"/>
                  </a:lnTo>
                  <a:lnTo>
                    <a:pt x="566" y="564"/>
                  </a:lnTo>
                  <a:lnTo>
                    <a:pt x="536" y="602"/>
                  </a:lnTo>
                  <a:lnTo>
                    <a:pt x="480" y="533"/>
                  </a:lnTo>
                  <a:lnTo>
                    <a:pt x="340" y="501"/>
                  </a:lnTo>
                  <a:lnTo>
                    <a:pt x="317" y="462"/>
                  </a:lnTo>
                  <a:lnTo>
                    <a:pt x="257" y="458"/>
                  </a:lnTo>
                  <a:lnTo>
                    <a:pt x="154" y="449"/>
                  </a:lnTo>
                  <a:lnTo>
                    <a:pt x="125" y="485"/>
                  </a:lnTo>
                  <a:lnTo>
                    <a:pt x="90" y="418"/>
                  </a:lnTo>
                  <a:lnTo>
                    <a:pt x="50" y="397"/>
                  </a:lnTo>
                  <a:lnTo>
                    <a:pt x="25" y="422"/>
                  </a:lnTo>
                  <a:lnTo>
                    <a:pt x="6" y="349"/>
                  </a:lnTo>
                  <a:lnTo>
                    <a:pt x="37" y="309"/>
                  </a:lnTo>
                  <a:lnTo>
                    <a:pt x="0" y="240"/>
                  </a:lnTo>
                  <a:lnTo>
                    <a:pt x="6" y="224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68" name="Freeform 38"/>
            <p:cNvSpPr>
              <a:spLocks/>
            </p:cNvSpPr>
            <p:nvPr/>
          </p:nvSpPr>
          <p:spPr bwMode="gray">
            <a:xfrm>
              <a:off x="2818285" y="2313579"/>
              <a:ext cx="503109" cy="517525"/>
            </a:xfrm>
            <a:custGeom>
              <a:avLst/>
              <a:gdLst>
                <a:gd name="T0" fmla="*/ 768 w 655"/>
                <a:gd name="T1" fmla="*/ 3963 h 653"/>
                <a:gd name="T2" fmla="*/ 10753 w 655"/>
                <a:gd name="T3" fmla="*/ 2378 h 653"/>
                <a:gd name="T4" fmla="*/ 23043 w 655"/>
                <a:gd name="T5" fmla="*/ 0 h 653"/>
                <a:gd name="T6" fmla="*/ 30724 w 655"/>
                <a:gd name="T7" fmla="*/ 7925 h 653"/>
                <a:gd name="T8" fmla="*/ 45318 w 655"/>
                <a:gd name="T9" fmla="*/ 15851 h 653"/>
                <a:gd name="T10" fmla="*/ 49159 w 655"/>
                <a:gd name="T11" fmla="*/ 10303 h 653"/>
                <a:gd name="T12" fmla="*/ 58376 w 655"/>
                <a:gd name="T13" fmla="*/ 11888 h 653"/>
                <a:gd name="T14" fmla="*/ 58376 w 655"/>
                <a:gd name="T15" fmla="*/ 3170 h 653"/>
                <a:gd name="T16" fmla="*/ 79883 w 655"/>
                <a:gd name="T17" fmla="*/ 25361 h 653"/>
                <a:gd name="T18" fmla="*/ 88332 w 655"/>
                <a:gd name="T19" fmla="*/ 27739 h 653"/>
                <a:gd name="T20" fmla="*/ 93709 w 655"/>
                <a:gd name="T21" fmla="*/ 22983 h 653"/>
                <a:gd name="T22" fmla="*/ 92173 w 655"/>
                <a:gd name="T23" fmla="*/ 28531 h 653"/>
                <a:gd name="T24" fmla="*/ 100622 w 655"/>
                <a:gd name="T25" fmla="*/ 26946 h 653"/>
                <a:gd name="T26" fmla="*/ 104462 w 655"/>
                <a:gd name="T27" fmla="*/ 37249 h 653"/>
                <a:gd name="T28" fmla="*/ 113680 w 655"/>
                <a:gd name="T29" fmla="*/ 32494 h 653"/>
                <a:gd name="T30" fmla="*/ 116752 w 655"/>
                <a:gd name="T31" fmla="*/ 46760 h 653"/>
                <a:gd name="T32" fmla="*/ 125201 w 655"/>
                <a:gd name="T33" fmla="*/ 51515 h 653"/>
                <a:gd name="T34" fmla="*/ 123665 w 655"/>
                <a:gd name="T35" fmla="*/ 58648 h 653"/>
                <a:gd name="T36" fmla="*/ 121361 w 655"/>
                <a:gd name="T37" fmla="*/ 59440 h 653"/>
                <a:gd name="T38" fmla="*/ 119824 w 655"/>
                <a:gd name="T39" fmla="*/ 61818 h 653"/>
                <a:gd name="T40" fmla="*/ 115216 w 655"/>
                <a:gd name="T41" fmla="*/ 63403 h 653"/>
                <a:gd name="T42" fmla="*/ 109071 w 655"/>
                <a:gd name="T43" fmla="*/ 64988 h 653"/>
                <a:gd name="T44" fmla="*/ 112143 w 655"/>
                <a:gd name="T45" fmla="*/ 72913 h 653"/>
                <a:gd name="T46" fmla="*/ 104462 w 655"/>
                <a:gd name="T47" fmla="*/ 83216 h 653"/>
                <a:gd name="T48" fmla="*/ 113680 w 655"/>
                <a:gd name="T49" fmla="*/ 99859 h 653"/>
                <a:gd name="T50" fmla="*/ 111375 w 655"/>
                <a:gd name="T51" fmla="*/ 108577 h 653"/>
                <a:gd name="T52" fmla="*/ 88332 w 655"/>
                <a:gd name="T53" fmla="*/ 121258 h 653"/>
                <a:gd name="T54" fmla="*/ 70666 w 655"/>
                <a:gd name="T55" fmla="*/ 115710 h 653"/>
                <a:gd name="T56" fmla="*/ 55304 w 655"/>
                <a:gd name="T57" fmla="*/ 129183 h 653"/>
                <a:gd name="T58" fmla="*/ 49159 w 655"/>
                <a:gd name="T59" fmla="*/ 118880 h 653"/>
                <a:gd name="T60" fmla="*/ 31492 w 655"/>
                <a:gd name="T61" fmla="*/ 125220 h 653"/>
                <a:gd name="T62" fmla="*/ 15362 w 655"/>
                <a:gd name="T63" fmla="*/ 109370 h 653"/>
                <a:gd name="T64" fmla="*/ 19971 w 655"/>
                <a:gd name="T65" fmla="*/ 76083 h 653"/>
                <a:gd name="T66" fmla="*/ 11522 w 655"/>
                <a:gd name="T67" fmla="*/ 45174 h 653"/>
                <a:gd name="T68" fmla="*/ 1536 w 655"/>
                <a:gd name="T69" fmla="*/ 34872 h 653"/>
                <a:gd name="T70" fmla="*/ 7681 w 655"/>
                <a:gd name="T71" fmla="*/ 20606 h 653"/>
                <a:gd name="T72" fmla="*/ 2304 w 655"/>
                <a:gd name="T73" fmla="*/ 7925 h 653"/>
                <a:gd name="T74" fmla="*/ 0 w 655"/>
                <a:gd name="T75" fmla="*/ 4755 h 653"/>
                <a:gd name="T76" fmla="*/ 768 w 655"/>
                <a:gd name="T77" fmla="*/ 3963 h 65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655"/>
                <a:gd name="T118" fmla="*/ 0 h 653"/>
                <a:gd name="T119" fmla="*/ 655 w 655"/>
                <a:gd name="T120" fmla="*/ 653 h 65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655" h="653">
                  <a:moveTo>
                    <a:pt x="4" y="23"/>
                  </a:moveTo>
                  <a:lnTo>
                    <a:pt x="56" y="12"/>
                  </a:lnTo>
                  <a:lnTo>
                    <a:pt x="123" y="0"/>
                  </a:lnTo>
                  <a:lnTo>
                    <a:pt x="161" y="43"/>
                  </a:lnTo>
                  <a:lnTo>
                    <a:pt x="236" y="81"/>
                  </a:lnTo>
                  <a:lnTo>
                    <a:pt x="257" y="54"/>
                  </a:lnTo>
                  <a:lnTo>
                    <a:pt x="305" y="60"/>
                  </a:lnTo>
                  <a:lnTo>
                    <a:pt x="305" y="16"/>
                  </a:lnTo>
                  <a:lnTo>
                    <a:pt x="418" y="131"/>
                  </a:lnTo>
                  <a:lnTo>
                    <a:pt x="463" y="140"/>
                  </a:lnTo>
                  <a:lnTo>
                    <a:pt x="488" y="116"/>
                  </a:lnTo>
                  <a:lnTo>
                    <a:pt x="482" y="146"/>
                  </a:lnTo>
                  <a:lnTo>
                    <a:pt x="526" y="139"/>
                  </a:lnTo>
                  <a:lnTo>
                    <a:pt x="547" y="190"/>
                  </a:lnTo>
                  <a:lnTo>
                    <a:pt x="593" y="164"/>
                  </a:lnTo>
                  <a:lnTo>
                    <a:pt x="609" y="238"/>
                  </a:lnTo>
                  <a:lnTo>
                    <a:pt x="655" y="263"/>
                  </a:lnTo>
                  <a:lnTo>
                    <a:pt x="645" y="298"/>
                  </a:lnTo>
                  <a:lnTo>
                    <a:pt x="632" y="302"/>
                  </a:lnTo>
                  <a:lnTo>
                    <a:pt x="626" y="315"/>
                  </a:lnTo>
                  <a:lnTo>
                    <a:pt x="603" y="321"/>
                  </a:lnTo>
                  <a:lnTo>
                    <a:pt x="570" y="329"/>
                  </a:lnTo>
                  <a:lnTo>
                    <a:pt x="584" y="369"/>
                  </a:lnTo>
                  <a:lnTo>
                    <a:pt x="545" y="423"/>
                  </a:lnTo>
                  <a:lnTo>
                    <a:pt x="595" y="505"/>
                  </a:lnTo>
                  <a:lnTo>
                    <a:pt x="580" y="551"/>
                  </a:lnTo>
                  <a:lnTo>
                    <a:pt x="461" y="614"/>
                  </a:lnTo>
                  <a:lnTo>
                    <a:pt x="370" y="584"/>
                  </a:lnTo>
                  <a:lnTo>
                    <a:pt x="290" y="653"/>
                  </a:lnTo>
                  <a:lnTo>
                    <a:pt x="257" y="603"/>
                  </a:lnTo>
                  <a:lnTo>
                    <a:pt x="167" y="632"/>
                  </a:lnTo>
                  <a:lnTo>
                    <a:pt x="83" y="553"/>
                  </a:lnTo>
                  <a:lnTo>
                    <a:pt x="106" y="386"/>
                  </a:lnTo>
                  <a:lnTo>
                    <a:pt x="61" y="229"/>
                  </a:lnTo>
                  <a:lnTo>
                    <a:pt x="8" y="177"/>
                  </a:lnTo>
                  <a:lnTo>
                    <a:pt x="42" y="106"/>
                  </a:lnTo>
                  <a:lnTo>
                    <a:pt x="12" y="43"/>
                  </a:lnTo>
                  <a:lnTo>
                    <a:pt x="0" y="25"/>
                  </a:lnTo>
                  <a:lnTo>
                    <a:pt x="4" y="23"/>
                  </a:lnTo>
                  <a:close/>
                </a:path>
              </a:pathLst>
            </a:custGeom>
            <a:solidFill>
              <a:schemeClr val="hlink"/>
            </a:solidFill>
            <a:ln w="9525">
              <a:solidFill>
                <a:schemeClr val="hlink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69" name="Freeform 41"/>
            <p:cNvSpPr>
              <a:spLocks/>
            </p:cNvSpPr>
            <p:nvPr/>
          </p:nvSpPr>
          <p:spPr bwMode="gray">
            <a:xfrm>
              <a:off x="3336780" y="3018427"/>
              <a:ext cx="344637" cy="468312"/>
            </a:xfrm>
            <a:custGeom>
              <a:avLst/>
              <a:gdLst>
                <a:gd name="T0" fmla="*/ 0 w 449"/>
                <a:gd name="T1" fmla="*/ 44375 h 591"/>
                <a:gd name="T2" fmla="*/ 13049 w 449"/>
                <a:gd name="T3" fmla="*/ 61808 h 591"/>
                <a:gd name="T4" fmla="*/ 10746 w 449"/>
                <a:gd name="T5" fmla="*/ 87957 h 591"/>
                <a:gd name="T6" fmla="*/ 20724 w 449"/>
                <a:gd name="T7" fmla="*/ 99051 h 591"/>
                <a:gd name="T8" fmla="*/ 40681 w 449"/>
                <a:gd name="T9" fmla="*/ 103013 h 591"/>
                <a:gd name="T10" fmla="*/ 38378 w 449"/>
                <a:gd name="T11" fmla="*/ 111729 h 591"/>
                <a:gd name="T12" fmla="*/ 48357 w 449"/>
                <a:gd name="T13" fmla="*/ 116484 h 591"/>
                <a:gd name="T14" fmla="*/ 59103 w 449"/>
                <a:gd name="T15" fmla="*/ 106975 h 591"/>
                <a:gd name="T16" fmla="*/ 50659 w 449"/>
                <a:gd name="T17" fmla="*/ 99051 h 591"/>
                <a:gd name="T18" fmla="*/ 74454 w 449"/>
                <a:gd name="T19" fmla="*/ 95089 h 591"/>
                <a:gd name="T20" fmla="*/ 85967 w 449"/>
                <a:gd name="T21" fmla="*/ 80825 h 591"/>
                <a:gd name="T22" fmla="*/ 75221 w 449"/>
                <a:gd name="T23" fmla="*/ 72109 h 591"/>
                <a:gd name="T24" fmla="*/ 80594 w 449"/>
                <a:gd name="T25" fmla="*/ 68147 h 591"/>
                <a:gd name="T26" fmla="*/ 62940 w 449"/>
                <a:gd name="T27" fmla="*/ 68147 h 591"/>
                <a:gd name="T28" fmla="*/ 58335 w 449"/>
                <a:gd name="T29" fmla="*/ 55468 h 591"/>
                <a:gd name="T30" fmla="*/ 45286 w 449"/>
                <a:gd name="T31" fmla="*/ 49922 h 591"/>
                <a:gd name="T32" fmla="*/ 48357 w 449"/>
                <a:gd name="T33" fmla="*/ 17433 h 591"/>
                <a:gd name="T34" fmla="*/ 43751 w 449"/>
                <a:gd name="T35" fmla="*/ 15848 h 591"/>
                <a:gd name="T36" fmla="*/ 39146 w 449"/>
                <a:gd name="T37" fmla="*/ 0 h 591"/>
                <a:gd name="T38" fmla="*/ 33773 w 449"/>
                <a:gd name="T39" fmla="*/ 5547 h 591"/>
                <a:gd name="T40" fmla="*/ 16119 w 449"/>
                <a:gd name="T41" fmla="*/ 792 h 591"/>
                <a:gd name="T42" fmla="*/ 11513 w 449"/>
                <a:gd name="T43" fmla="*/ 11886 h 591"/>
                <a:gd name="T44" fmla="*/ 16886 w 449"/>
                <a:gd name="T45" fmla="*/ 19018 h 591"/>
                <a:gd name="T46" fmla="*/ 5373 w 449"/>
                <a:gd name="T47" fmla="*/ 23772 h 591"/>
                <a:gd name="T48" fmla="*/ 0 w 449"/>
                <a:gd name="T49" fmla="*/ 36451 h 591"/>
                <a:gd name="T50" fmla="*/ 4605 w 449"/>
                <a:gd name="T51" fmla="*/ 41205 h 591"/>
                <a:gd name="T52" fmla="*/ 0 w 449"/>
                <a:gd name="T53" fmla="*/ 42790 h 591"/>
                <a:gd name="T54" fmla="*/ 0 w 449"/>
                <a:gd name="T55" fmla="*/ 44375 h 59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449"/>
                <a:gd name="T85" fmla="*/ 0 h 591"/>
                <a:gd name="T86" fmla="*/ 449 w 449"/>
                <a:gd name="T87" fmla="*/ 591 h 591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449" h="591">
                  <a:moveTo>
                    <a:pt x="0" y="226"/>
                  </a:moveTo>
                  <a:lnTo>
                    <a:pt x="71" y="315"/>
                  </a:lnTo>
                  <a:lnTo>
                    <a:pt x="59" y="445"/>
                  </a:lnTo>
                  <a:lnTo>
                    <a:pt x="111" y="503"/>
                  </a:lnTo>
                  <a:lnTo>
                    <a:pt x="215" y="522"/>
                  </a:lnTo>
                  <a:lnTo>
                    <a:pt x="201" y="566"/>
                  </a:lnTo>
                  <a:lnTo>
                    <a:pt x="255" y="591"/>
                  </a:lnTo>
                  <a:lnTo>
                    <a:pt x="309" y="543"/>
                  </a:lnTo>
                  <a:lnTo>
                    <a:pt x="265" y="503"/>
                  </a:lnTo>
                  <a:lnTo>
                    <a:pt x="389" y="482"/>
                  </a:lnTo>
                  <a:lnTo>
                    <a:pt x="449" y="411"/>
                  </a:lnTo>
                  <a:lnTo>
                    <a:pt x="395" y="367"/>
                  </a:lnTo>
                  <a:lnTo>
                    <a:pt x="420" y="344"/>
                  </a:lnTo>
                  <a:lnTo>
                    <a:pt x="328" y="347"/>
                  </a:lnTo>
                  <a:lnTo>
                    <a:pt x="305" y="280"/>
                  </a:lnTo>
                  <a:lnTo>
                    <a:pt x="238" y="255"/>
                  </a:lnTo>
                  <a:lnTo>
                    <a:pt x="255" y="88"/>
                  </a:lnTo>
                  <a:lnTo>
                    <a:pt x="228" y="83"/>
                  </a:lnTo>
                  <a:lnTo>
                    <a:pt x="207" y="0"/>
                  </a:lnTo>
                  <a:lnTo>
                    <a:pt x="176" y="29"/>
                  </a:lnTo>
                  <a:lnTo>
                    <a:pt x="84" y="6"/>
                  </a:lnTo>
                  <a:lnTo>
                    <a:pt x="63" y="60"/>
                  </a:lnTo>
                  <a:lnTo>
                    <a:pt x="90" y="96"/>
                  </a:lnTo>
                  <a:lnTo>
                    <a:pt x="29" y="123"/>
                  </a:lnTo>
                  <a:lnTo>
                    <a:pt x="0" y="184"/>
                  </a:lnTo>
                  <a:lnTo>
                    <a:pt x="27" y="211"/>
                  </a:lnTo>
                  <a:lnTo>
                    <a:pt x="0" y="219"/>
                  </a:lnTo>
                  <a:lnTo>
                    <a:pt x="0" y="226"/>
                  </a:lnTo>
                  <a:close/>
                </a:path>
              </a:pathLst>
            </a:custGeom>
            <a:solidFill>
              <a:srgbClr val="B1726B"/>
            </a:solidFill>
            <a:ln w="9525">
              <a:solidFill>
                <a:srgbClr val="B1726B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70" name="Freeform 43"/>
            <p:cNvSpPr>
              <a:spLocks/>
            </p:cNvSpPr>
            <p:nvPr/>
          </p:nvSpPr>
          <p:spPr bwMode="gray">
            <a:xfrm>
              <a:off x="3099842" y="2550114"/>
              <a:ext cx="680043" cy="552450"/>
            </a:xfrm>
            <a:custGeom>
              <a:avLst/>
              <a:gdLst>
                <a:gd name="T0" fmla="*/ 1540 w 883"/>
                <a:gd name="T1" fmla="*/ 57150 h 696"/>
                <a:gd name="T2" fmla="*/ 18484 w 883"/>
                <a:gd name="T3" fmla="*/ 62706 h 696"/>
                <a:gd name="T4" fmla="*/ 41588 w 883"/>
                <a:gd name="T5" fmla="*/ 50006 h 696"/>
                <a:gd name="T6" fmla="*/ 43899 w 883"/>
                <a:gd name="T7" fmla="*/ 40481 h 696"/>
                <a:gd name="T8" fmla="*/ 34657 w 883"/>
                <a:gd name="T9" fmla="*/ 24606 h 696"/>
                <a:gd name="T10" fmla="*/ 42358 w 883"/>
                <a:gd name="T11" fmla="*/ 14288 h 696"/>
                <a:gd name="T12" fmla="*/ 39278 w 883"/>
                <a:gd name="T13" fmla="*/ 6350 h 696"/>
                <a:gd name="T14" fmla="*/ 46209 w 883"/>
                <a:gd name="T15" fmla="*/ 3969 h 696"/>
                <a:gd name="T16" fmla="*/ 51600 w 883"/>
                <a:gd name="T17" fmla="*/ 794 h 696"/>
                <a:gd name="T18" fmla="*/ 53911 w 883"/>
                <a:gd name="T19" fmla="*/ 0 h 696"/>
                <a:gd name="T20" fmla="*/ 86257 w 883"/>
                <a:gd name="T21" fmla="*/ 18256 h 696"/>
                <a:gd name="T22" fmla="*/ 98579 w 883"/>
                <a:gd name="T23" fmla="*/ 34925 h 696"/>
                <a:gd name="T24" fmla="*/ 119373 w 883"/>
                <a:gd name="T25" fmla="*/ 25400 h 696"/>
                <a:gd name="T26" fmla="*/ 150950 w 883"/>
                <a:gd name="T27" fmla="*/ 23019 h 696"/>
                <a:gd name="T28" fmla="*/ 150950 w 883"/>
                <a:gd name="T29" fmla="*/ 26988 h 696"/>
                <a:gd name="T30" fmla="*/ 152490 w 883"/>
                <a:gd name="T31" fmla="*/ 29369 h 696"/>
                <a:gd name="T32" fmla="*/ 170203 w 883"/>
                <a:gd name="T33" fmla="*/ 38894 h 696"/>
                <a:gd name="T34" fmla="*/ 157881 w 883"/>
                <a:gd name="T35" fmla="*/ 46831 h 696"/>
                <a:gd name="T36" fmla="*/ 168663 w 883"/>
                <a:gd name="T37" fmla="*/ 69056 h 696"/>
                <a:gd name="T38" fmla="*/ 161732 w 883"/>
                <a:gd name="T39" fmla="*/ 80169 h 696"/>
                <a:gd name="T40" fmla="*/ 167123 w 883"/>
                <a:gd name="T41" fmla="*/ 91281 h 696"/>
                <a:gd name="T42" fmla="*/ 157111 w 883"/>
                <a:gd name="T43" fmla="*/ 96044 h 696"/>
                <a:gd name="T44" fmla="*/ 144018 w 883"/>
                <a:gd name="T45" fmla="*/ 86519 h 696"/>
                <a:gd name="T46" fmla="*/ 134006 w 883"/>
                <a:gd name="T47" fmla="*/ 92075 h 696"/>
                <a:gd name="T48" fmla="*/ 122454 w 883"/>
                <a:gd name="T49" fmla="*/ 87312 h 696"/>
                <a:gd name="T50" fmla="*/ 108591 w 883"/>
                <a:gd name="T51" fmla="*/ 134938 h 696"/>
                <a:gd name="T52" fmla="*/ 103200 w 883"/>
                <a:gd name="T53" fmla="*/ 134144 h 696"/>
                <a:gd name="T54" fmla="*/ 99349 w 883"/>
                <a:gd name="T55" fmla="*/ 117475 h 696"/>
                <a:gd name="T56" fmla="*/ 93188 w 883"/>
                <a:gd name="T57" fmla="*/ 123031 h 696"/>
                <a:gd name="T58" fmla="*/ 75475 w 883"/>
                <a:gd name="T59" fmla="*/ 118269 h 696"/>
                <a:gd name="T60" fmla="*/ 71624 w 883"/>
                <a:gd name="T61" fmla="*/ 129381 h 696"/>
                <a:gd name="T62" fmla="*/ 62382 w 883"/>
                <a:gd name="T63" fmla="*/ 138113 h 696"/>
                <a:gd name="T64" fmla="*/ 45439 w 883"/>
                <a:gd name="T65" fmla="*/ 132556 h 696"/>
                <a:gd name="T66" fmla="*/ 33887 w 883"/>
                <a:gd name="T67" fmla="*/ 137319 h 696"/>
                <a:gd name="T68" fmla="*/ 25415 w 883"/>
                <a:gd name="T69" fmla="*/ 130969 h 696"/>
                <a:gd name="T70" fmla="*/ 26185 w 883"/>
                <a:gd name="T71" fmla="*/ 122238 h 696"/>
                <a:gd name="T72" fmla="*/ 35427 w 883"/>
                <a:gd name="T73" fmla="*/ 115888 h 696"/>
                <a:gd name="T74" fmla="*/ 35427 w 883"/>
                <a:gd name="T75" fmla="*/ 98425 h 696"/>
                <a:gd name="T76" fmla="*/ 11552 w 883"/>
                <a:gd name="T77" fmla="*/ 85725 h 696"/>
                <a:gd name="T78" fmla="*/ 0 w 883"/>
                <a:gd name="T79" fmla="*/ 57944 h 696"/>
                <a:gd name="T80" fmla="*/ 1540 w 883"/>
                <a:gd name="T81" fmla="*/ 57150 h 69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883"/>
                <a:gd name="T124" fmla="*/ 0 h 696"/>
                <a:gd name="T125" fmla="*/ 883 w 883"/>
                <a:gd name="T126" fmla="*/ 696 h 69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883" h="696">
                  <a:moveTo>
                    <a:pt x="5" y="286"/>
                  </a:moveTo>
                  <a:lnTo>
                    <a:pt x="94" y="316"/>
                  </a:lnTo>
                  <a:lnTo>
                    <a:pt x="213" y="255"/>
                  </a:lnTo>
                  <a:lnTo>
                    <a:pt x="228" y="207"/>
                  </a:lnTo>
                  <a:lnTo>
                    <a:pt x="178" y="125"/>
                  </a:lnTo>
                  <a:lnTo>
                    <a:pt x="217" y="71"/>
                  </a:lnTo>
                  <a:lnTo>
                    <a:pt x="203" y="32"/>
                  </a:lnTo>
                  <a:lnTo>
                    <a:pt x="240" y="23"/>
                  </a:lnTo>
                  <a:lnTo>
                    <a:pt x="265" y="4"/>
                  </a:lnTo>
                  <a:lnTo>
                    <a:pt x="280" y="0"/>
                  </a:lnTo>
                  <a:lnTo>
                    <a:pt x="445" y="94"/>
                  </a:lnTo>
                  <a:lnTo>
                    <a:pt x="510" y="176"/>
                  </a:lnTo>
                  <a:lnTo>
                    <a:pt x="618" y="128"/>
                  </a:lnTo>
                  <a:lnTo>
                    <a:pt x="781" y="117"/>
                  </a:lnTo>
                  <a:lnTo>
                    <a:pt x="783" y="136"/>
                  </a:lnTo>
                  <a:lnTo>
                    <a:pt x="792" y="146"/>
                  </a:lnTo>
                  <a:lnTo>
                    <a:pt x="883" y="199"/>
                  </a:lnTo>
                  <a:lnTo>
                    <a:pt x="817" y="236"/>
                  </a:lnTo>
                  <a:lnTo>
                    <a:pt x="875" y="351"/>
                  </a:lnTo>
                  <a:lnTo>
                    <a:pt x="840" y="405"/>
                  </a:lnTo>
                  <a:lnTo>
                    <a:pt x="865" y="460"/>
                  </a:lnTo>
                  <a:lnTo>
                    <a:pt x="815" y="485"/>
                  </a:lnTo>
                  <a:lnTo>
                    <a:pt x="746" y="439"/>
                  </a:lnTo>
                  <a:lnTo>
                    <a:pt x="693" y="464"/>
                  </a:lnTo>
                  <a:lnTo>
                    <a:pt x="633" y="441"/>
                  </a:lnTo>
                  <a:lnTo>
                    <a:pt x="562" y="677"/>
                  </a:lnTo>
                  <a:lnTo>
                    <a:pt x="535" y="673"/>
                  </a:lnTo>
                  <a:lnTo>
                    <a:pt x="514" y="591"/>
                  </a:lnTo>
                  <a:lnTo>
                    <a:pt x="483" y="618"/>
                  </a:lnTo>
                  <a:lnTo>
                    <a:pt x="391" y="595"/>
                  </a:lnTo>
                  <a:lnTo>
                    <a:pt x="372" y="650"/>
                  </a:lnTo>
                  <a:lnTo>
                    <a:pt x="324" y="696"/>
                  </a:lnTo>
                  <a:lnTo>
                    <a:pt x="236" y="668"/>
                  </a:lnTo>
                  <a:lnTo>
                    <a:pt x="176" y="689"/>
                  </a:lnTo>
                  <a:lnTo>
                    <a:pt x="132" y="658"/>
                  </a:lnTo>
                  <a:lnTo>
                    <a:pt x="134" y="616"/>
                  </a:lnTo>
                  <a:lnTo>
                    <a:pt x="184" y="581"/>
                  </a:lnTo>
                  <a:lnTo>
                    <a:pt x="184" y="499"/>
                  </a:lnTo>
                  <a:lnTo>
                    <a:pt x="57" y="432"/>
                  </a:lnTo>
                  <a:lnTo>
                    <a:pt x="0" y="290"/>
                  </a:lnTo>
                  <a:lnTo>
                    <a:pt x="5" y="286"/>
                  </a:lnTo>
                  <a:close/>
                </a:path>
              </a:pathLst>
            </a:custGeom>
            <a:solidFill>
              <a:schemeClr val="hlink"/>
            </a:solidFill>
            <a:ln w="9525">
              <a:solidFill>
                <a:schemeClr val="hlink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71" name="Freeform 46"/>
            <p:cNvSpPr>
              <a:spLocks/>
            </p:cNvSpPr>
            <p:nvPr/>
          </p:nvSpPr>
          <p:spPr bwMode="gray">
            <a:xfrm>
              <a:off x="2819824" y="1865902"/>
              <a:ext cx="533880" cy="596900"/>
            </a:xfrm>
            <a:custGeom>
              <a:avLst/>
              <a:gdLst>
                <a:gd name="T0" fmla="*/ 768 w 695"/>
                <a:gd name="T1" fmla="*/ 93662 h 752"/>
                <a:gd name="T2" fmla="*/ 10754 w 695"/>
                <a:gd name="T3" fmla="*/ 114300 h 752"/>
                <a:gd name="T4" fmla="*/ 23045 w 695"/>
                <a:gd name="T5" fmla="*/ 111919 h 752"/>
                <a:gd name="T6" fmla="*/ 29191 w 695"/>
                <a:gd name="T7" fmla="*/ 120650 h 752"/>
                <a:gd name="T8" fmla="*/ 44554 w 695"/>
                <a:gd name="T9" fmla="*/ 129381 h 752"/>
                <a:gd name="T10" fmla="*/ 48395 w 695"/>
                <a:gd name="T11" fmla="*/ 122238 h 752"/>
                <a:gd name="T12" fmla="*/ 56845 w 695"/>
                <a:gd name="T13" fmla="*/ 124619 h 752"/>
                <a:gd name="T14" fmla="*/ 58381 w 695"/>
                <a:gd name="T15" fmla="*/ 115888 h 752"/>
                <a:gd name="T16" fmla="*/ 79890 w 695"/>
                <a:gd name="T17" fmla="*/ 138906 h 752"/>
                <a:gd name="T18" fmla="*/ 87572 w 695"/>
                <a:gd name="T19" fmla="*/ 139700 h 752"/>
                <a:gd name="T20" fmla="*/ 92949 w 695"/>
                <a:gd name="T21" fmla="*/ 134938 h 752"/>
                <a:gd name="T22" fmla="*/ 92181 w 695"/>
                <a:gd name="T23" fmla="*/ 142081 h 752"/>
                <a:gd name="T24" fmla="*/ 99862 w 695"/>
                <a:gd name="T25" fmla="*/ 139700 h 752"/>
                <a:gd name="T26" fmla="*/ 104471 w 695"/>
                <a:gd name="T27" fmla="*/ 149225 h 752"/>
                <a:gd name="T28" fmla="*/ 112921 w 695"/>
                <a:gd name="T29" fmla="*/ 146050 h 752"/>
                <a:gd name="T30" fmla="*/ 110617 w 695"/>
                <a:gd name="T31" fmla="*/ 138113 h 752"/>
                <a:gd name="T32" fmla="*/ 109849 w 695"/>
                <a:gd name="T33" fmla="*/ 136525 h 752"/>
                <a:gd name="T34" fmla="*/ 123676 w 695"/>
                <a:gd name="T35" fmla="*/ 98425 h 752"/>
                <a:gd name="T36" fmla="*/ 129053 w 695"/>
                <a:gd name="T37" fmla="*/ 97631 h 752"/>
                <a:gd name="T38" fmla="*/ 125212 w 695"/>
                <a:gd name="T39" fmla="*/ 92075 h 752"/>
                <a:gd name="T40" fmla="*/ 132894 w 695"/>
                <a:gd name="T41" fmla="*/ 87312 h 752"/>
                <a:gd name="T42" fmla="*/ 132126 w 695"/>
                <a:gd name="T43" fmla="*/ 74613 h 752"/>
                <a:gd name="T44" fmla="*/ 125980 w 695"/>
                <a:gd name="T45" fmla="*/ 71438 h 752"/>
                <a:gd name="T46" fmla="*/ 129821 w 695"/>
                <a:gd name="T47" fmla="*/ 64294 h 752"/>
                <a:gd name="T48" fmla="*/ 121371 w 695"/>
                <a:gd name="T49" fmla="*/ 57944 h 752"/>
                <a:gd name="T50" fmla="*/ 113690 w 695"/>
                <a:gd name="T51" fmla="*/ 64294 h 752"/>
                <a:gd name="T52" fmla="*/ 93717 w 695"/>
                <a:gd name="T53" fmla="*/ 64294 h 752"/>
                <a:gd name="T54" fmla="*/ 94485 w 695"/>
                <a:gd name="T55" fmla="*/ 55563 h 752"/>
                <a:gd name="T56" fmla="*/ 89876 w 695"/>
                <a:gd name="T57" fmla="*/ 56356 h 752"/>
                <a:gd name="T58" fmla="*/ 80658 w 695"/>
                <a:gd name="T59" fmla="*/ 30956 h 752"/>
                <a:gd name="T60" fmla="*/ 73745 w 695"/>
                <a:gd name="T61" fmla="*/ 34925 h 752"/>
                <a:gd name="T62" fmla="*/ 65295 w 695"/>
                <a:gd name="T63" fmla="*/ 27781 h 752"/>
                <a:gd name="T64" fmla="*/ 69904 w 695"/>
                <a:gd name="T65" fmla="*/ 17463 h 752"/>
                <a:gd name="T66" fmla="*/ 49931 w 695"/>
                <a:gd name="T67" fmla="*/ 0 h 752"/>
                <a:gd name="T68" fmla="*/ 18436 w 695"/>
                <a:gd name="T69" fmla="*/ 4762 h 752"/>
                <a:gd name="T70" fmla="*/ 18436 w 695"/>
                <a:gd name="T71" fmla="*/ 19050 h 752"/>
                <a:gd name="T72" fmla="*/ 8450 w 695"/>
                <a:gd name="T73" fmla="*/ 31750 h 752"/>
                <a:gd name="T74" fmla="*/ 16132 w 695"/>
                <a:gd name="T75" fmla="*/ 36513 h 752"/>
                <a:gd name="T76" fmla="*/ 24582 w 695"/>
                <a:gd name="T77" fmla="*/ 58738 h 752"/>
                <a:gd name="T78" fmla="*/ 13827 w 695"/>
                <a:gd name="T79" fmla="*/ 69056 h 752"/>
                <a:gd name="T80" fmla="*/ 15363 w 695"/>
                <a:gd name="T81" fmla="*/ 83344 h 752"/>
                <a:gd name="T82" fmla="*/ 0 w 695"/>
                <a:gd name="T83" fmla="*/ 92075 h 752"/>
                <a:gd name="T84" fmla="*/ 768 w 695"/>
                <a:gd name="T85" fmla="*/ 93662 h 75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95"/>
                <a:gd name="T130" fmla="*/ 0 h 752"/>
                <a:gd name="T131" fmla="*/ 695 w 695"/>
                <a:gd name="T132" fmla="*/ 752 h 75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95" h="752">
                  <a:moveTo>
                    <a:pt x="4" y="474"/>
                  </a:moveTo>
                  <a:lnTo>
                    <a:pt x="58" y="576"/>
                  </a:lnTo>
                  <a:lnTo>
                    <a:pt x="123" y="564"/>
                  </a:lnTo>
                  <a:lnTo>
                    <a:pt x="155" y="607"/>
                  </a:lnTo>
                  <a:lnTo>
                    <a:pt x="234" y="649"/>
                  </a:lnTo>
                  <a:lnTo>
                    <a:pt x="255" y="616"/>
                  </a:lnTo>
                  <a:lnTo>
                    <a:pt x="299" y="626"/>
                  </a:lnTo>
                  <a:lnTo>
                    <a:pt x="305" y="584"/>
                  </a:lnTo>
                  <a:lnTo>
                    <a:pt x="416" y="697"/>
                  </a:lnTo>
                  <a:lnTo>
                    <a:pt x="459" y="704"/>
                  </a:lnTo>
                  <a:lnTo>
                    <a:pt x="486" y="680"/>
                  </a:lnTo>
                  <a:lnTo>
                    <a:pt x="480" y="714"/>
                  </a:lnTo>
                  <a:lnTo>
                    <a:pt x="522" y="701"/>
                  </a:lnTo>
                  <a:lnTo>
                    <a:pt x="545" y="752"/>
                  </a:lnTo>
                  <a:lnTo>
                    <a:pt x="591" y="735"/>
                  </a:lnTo>
                  <a:lnTo>
                    <a:pt x="576" y="693"/>
                  </a:lnTo>
                  <a:lnTo>
                    <a:pt x="574" y="687"/>
                  </a:lnTo>
                  <a:lnTo>
                    <a:pt x="645" y="499"/>
                  </a:lnTo>
                  <a:lnTo>
                    <a:pt x="672" y="493"/>
                  </a:lnTo>
                  <a:lnTo>
                    <a:pt x="653" y="465"/>
                  </a:lnTo>
                  <a:lnTo>
                    <a:pt x="695" y="440"/>
                  </a:lnTo>
                  <a:lnTo>
                    <a:pt x="691" y="378"/>
                  </a:lnTo>
                  <a:lnTo>
                    <a:pt x="656" y="357"/>
                  </a:lnTo>
                  <a:lnTo>
                    <a:pt x="678" y="323"/>
                  </a:lnTo>
                  <a:lnTo>
                    <a:pt x="633" y="290"/>
                  </a:lnTo>
                  <a:lnTo>
                    <a:pt x="595" y="323"/>
                  </a:lnTo>
                  <a:lnTo>
                    <a:pt x="491" y="323"/>
                  </a:lnTo>
                  <a:lnTo>
                    <a:pt x="495" y="280"/>
                  </a:lnTo>
                  <a:lnTo>
                    <a:pt x="468" y="282"/>
                  </a:lnTo>
                  <a:lnTo>
                    <a:pt x="420" y="156"/>
                  </a:lnTo>
                  <a:lnTo>
                    <a:pt x="384" y="175"/>
                  </a:lnTo>
                  <a:lnTo>
                    <a:pt x="342" y="140"/>
                  </a:lnTo>
                  <a:lnTo>
                    <a:pt x="365" y="87"/>
                  </a:lnTo>
                  <a:lnTo>
                    <a:pt x="263" y="0"/>
                  </a:lnTo>
                  <a:lnTo>
                    <a:pt x="96" y="23"/>
                  </a:lnTo>
                  <a:lnTo>
                    <a:pt x="96" y="96"/>
                  </a:lnTo>
                  <a:lnTo>
                    <a:pt x="46" y="158"/>
                  </a:lnTo>
                  <a:lnTo>
                    <a:pt x="84" y="181"/>
                  </a:lnTo>
                  <a:lnTo>
                    <a:pt x="129" y="294"/>
                  </a:lnTo>
                  <a:lnTo>
                    <a:pt x="75" y="348"/>
                  </a:lnTo>
                  <a:lnTo>
                    <a:pt x="81" y="422"/>
                  </a:lnTo>
                  <a:lnTo>
                    <a:pt x="0" y="465"/>
                  </a:lnTo>
                  <a:lnTo>
                    <a:pt x="4" y="474"/>
                  </a:lnTo>
                  <a:close/>
                </a:path>
              </a:pathLst>
            </a:custGeom>
            <a:solidFill>
              <a:schemeClr val="hlink"/>
            </a:solidFill>
            <a:ln w="9525">
              <a:solidFill>
                <a:schemeClr val="hlink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72" name="Freeform 48"/>
            <p:cNvSpPr>
              <a:spLocks/>
            </p:cNvSpPr>
            <p:nvPr/>
          </p:nvSpPr>
          <p:spPr bwMode="gray">
            <a:xfrm>
              <a:off x="2599811" y="2748552"/>
              <a:ext cx="641579" cy="474662"/>
            </a:xfrm>
            <a:custGeom>
              <a:avLst/>
              <a:gdLst>
                <a:gd name="T0" fmla="*/ 768 w 835"/>
                <a:gd name="T1" fmla="*/ 52300 h 599"/>
                <a:gd name="T2" fmla="*/ 2305 w 835"/>
                <a:gd name="T3" fmla="*/ 61809 h 599"/>
                <a:gd name="T4" fmla="*/ 19209 w 835"/>
                <a:gd name="T5" fmla="*/ 71318 h 599"/>
                <a:gd name="T6" fmla="*/ 26893 w 835"/>
                <a:gd name="T7" fmla="*/ 90336 h 599"/>
                <a:gd name="T8" fmla="*/ 32271 w 835"/>
                <a:gd name="T9" fmla="*/ 93506 h 599"/>
                <a:gd name="T10" fmla="*/ 41491 w 835"/>
                <a:gd name="T11" fmla="*/ 79242 h 599"/>
                <a:gd name="T12" fmla="*/ 48407 w 835"/>
                <a:gd name="T13" fmla="*/ 82412 h 599"/>
                <a:gd name="T14" fmla="*/ 50712 w 835"/>
                <a:gd name="T15" fmla="*/ 76865 h 599"/>
                <a:gd name="T16" fmla="*/ 59932 w 835"/>
                <a:gd name="T17" fmla="*/ 75280 h 599"/>
                <a:gd name="T18" fmla="*/ 63774 w 835"/>
                <a:gd name="T19" fmla="*/ 92714 h 599"/>
                <a:gd name="T20" fmla="*/ 82983 w 835"/>
                <a:gd name="T21" fmla="*/ 100638 h 599"/>
                <a:gd name="T22" fmla="*/ 109107 w 835"/>
                <a:gd name="T23" fmla="*/ 100638 h 599"/>
                <a:gd name="T24" fmla="*/ 110644 w 835"/>
                <a:gd name="T25" fmla="*/ 108562 h 599"/>
                <a:gd name="T26" fmla="*/ 120632 w 835"/>
                <a:gd name="T27" fmla="*/ 107770 h 599"/>
                <a:gd name="T28" fmla="*/ 130621 w 835"/>
                <a:gd name="T29" fmla="*/ 118071 h 599"/>
                <a:gd name="T30" fmla="*/ 131389 w 835"/>
                <a:gd name="T31" fmla="*/ 118071 h 599"/>
                <a:gd name="T32" fmla="*/ 143683 w 835"/>
                <a:gd name="T33" fmla="*/ 111732 h 599"/>
                <a:gd name="T34" fmla="*/ 139073 w 835"/>
                <a:gd name="T35" fmla="*/ 79242 h 599"/>
                <a:gd name="T36" fmla="*/ 150598 w 835"/>
                <a:gd name="T37" fmla="*/ 72111 h 599"/>
                <a:gd name="T38" fmla="*/ 159818 w 835"/>
                <a:gd name="T39" fmla="*/ 65771 h 599"/>
                <a:gd name="T40" fmla="*/ 159818 w 835"/>
                <a:gd name="T41" fmla="*/ 49130 h 599"/>
                <a:gd name="T42" fmla="*/ 135999 w 835"/>
                <a:gd name="T43" fmla="*/ 35659 h 599"/>
                <a:gd name="T44" fmla="*/ 124474 w 835"/>
                <a:gd name="T45" fmla="*/ 7924 h 599"/>
                <a:gd name="T46" fmla="*/ 125242 w 835"/>
                <a:gd name="T47" fmla="*/ 7132 h 599"/>
                <a:gd name="T48" fmla="*/ 109875 w 835"/>
                <a:gd name="T49" fmla="*/ 20603 h 599"/>
                <a:gd name="T50" fmla="*/ 103728 w 835"/>
                <a:gd name="T51" fmla="*/ 11094 h 599"/>
                <a:gd name="T52" fmla="*/ 85288 w 835"/>
                <a:gd name="T53" fmla="*/ 15848 h 599"/>
                <a:gd name="T54" fmla="*/ 69152 w 835"/>
                <a:gd name="T55" fmla="*/ 0 h 599"/>
                <a:gd name="T56" fmla="*/ 59164 w 835"/>
                <a:gd name="T57" fmla="*/ 792 h 599"/>
                <a:gd name="T58" fmla="*/ 53785 w 835"/>
                <a:gd name="T59" fmla="*/ 9509 h 599"/>
                <a:gd name="T60" fmla="*/ 39955 w 835"/>
                <a:gd name="T61" fmla="*/ 7924 h 599"/>
                <a:gd name="T62" fmla="*/ 28429 w 835"/>
                <a:gd name="T63" fmla="*/ 18226 h 599"/>
                <a:gd name="T64" fmla="*/ 31503 w 835"/>
                <a:gd name="T65" fmla="*/ 33282 h 599"/>
                <a:gd name="T66" fmla="*/ 9220 w 835"/>
                <a:gd name="T67" fmla="*/ 38036 h 599"/>
                <a:gd name="T68" fmla="*/ 0 w 835"/>
                <a:gd name="T69" fmla="*/ 50715 h 599"/>
                <a:gd name="T70" fmla="*/ 768 w 835"/>
                <a:gd name="T71" fmla="*/ 52300 h 59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35"/>
                <a:gd name="T109" fmla="*/ 0 h 599"/>
                <a:gd name="T110" fmla="*/ 835 w 835"/>
                <a:gd name="T111" fmla="*/ 599 h 59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35" h="599">
                  <a:moveTo>
                    <a:pt x="6" y="267"/>
                  </a:moveTo>
                  <a:lnTo>
                    <a:pt x="15" y="315"/>
                  </a:lnTo>
                  <a:lnTo>
                    <a:pt x="102" y="363"/>
                  </a:lnTo>
                  <a:lnTo>
                    <a:pt x="140" y="457"/>
                  </a:lnTo>
                  <a:lnTo>
                    <a:pt x="169" y="472"/>
                  </a:lnTo>
                  <a:lnTo>
                    <a:pt x="219" y="403"/>
                  </a:lnTo>
                  <a:lnTo>
                    <a:pt x="255" y="417"/>
                  </a:lnTo>
                  <a:lnTo>
                    <a:pt x="265" y="388"/>
                  </a:lnTo>
                  <a:lnTo>
                    <a:pt x="313" y="382"/>
                  </a:lnTo>
                  <a:lnTo>
                    <a:pt x="334" y="469"/>
                  </a:lnTo>
                  <a:lnTo>
                    <a:pt x="434" y="511"/>
                  </a:lnTo>
                  <a:lnTo>
                    <a:pt x="568" y="511"/>
                  </a:lnTo>
                  <a:lnTo>
                    <a:pt x="578" y="549"/>
                  </a:lnTo>
                  <a:lnTo>
                    <a:pt x="631" y="545"/>
                  </a:lnTo>
                  <a:lnTo>
                    <a:pt x="681" y="599"/>
                  </a:lnTo>
                  <a:lnTo>
                    <a:pt x="687" y="599"/>
                  </a:lnTo>
                  <a:lnTo>
                    <a:pt x="750" y="565"/>
                  </a:lnTo>
                  <a:lnTo>
                    <a:pt x="726" y="400"/>
                  </a:lnTo>
                  <a:lnTo>
                    <a:pt x="785" y="365"/>
                  </a:lnTo>
                  <a:lnTo>
                    <a:pt x="835" y="332"/>
                  </a:lnTo>
                  <a:lnTo>
                    <a:pt x="835" y="250"/>
                  </a:lnTo>
                  <a:lnTo>
                    <a:pt x="708" y="181"/>
                  </a:lnTo>
                  <a:lnTo>
                    <a:pt x="651" y="41"/>
                  </a:lnTo>
                  <a:lnTo>
                    <a:pt x="654" y="37"/>
                  </a:lnTo>
                  <a:lnTo>
                    <a:pt x="574" y="106"/>
                  </a:lnTo>
                  <a:lnTo>
                    <a:pt x="543" y="56"/>
                  </a:lnTo>
                  <a:lnTo>
                    <a:pt x="447" y="83"/>
                  </a:lnTo>
                  <a:lnTo>
                    <a:pt x="363" y="0"/>
                  </a:lnTo>
                  <a:lnTo>
                    <a:pt x="309" y="6"/>
                  </a:lnTo>
                  <a:lnTo>
                    <a:pt x="282" y="48"/>
                  </a:lnTo>
                  <a:lnTo>
                    <a:pt x="211" y="41"/>
                  </a:lnTo>
                  <a:lnTo>
                    <a:pt x="148" y="94"/>
                  </a:lnTo>
                  <a:lnTo>
                    <a:pt x="167" y="171"/>
                  </a:lnTo>
                  <a:lnTo>
                    <a:pt x="50" y="192"/>
                  </a:lnTo>
                  <a:lnTo>
                    <a:pt x="0" y="259"/>
                  </a:lnTo>
                  <a:lnTo>
                    <a:pt x="6" y="267"/>
                  </a:lnTo>
                  <a:close/>
                </a:path>
              </a:pathLst>
            </a:custGeom>
            <a:solidFill>
              <a:srgbClr val="B1726B"/>
            </a:solidFill>
            <a:ln w="9525">
              <a:solidFill>
                <a:srgbClr val="B1726B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73" name="Freeform 51"/>
            <p:cNvSpPr>
              <a:spLocks/>
            </p:cNvSpPr>
            <p:nvPr/>
          </p:nvSpPr>
          <p:spPr bwMode="gray">
            <a:xfrm>
              <a:off x="3127537" y="3037477"/>
              <a:ext cx="404641" cy="577850"/>
            </a:xfrm>
            <a:custGeom>
              <a:avLst/>
              <a:gdLst>
                <a:gd name="T0" fmla="*/ 769 w 526"/>
                <a:gd name="T1" fmla="*/ 46896 h 727"/>
                <a:gd name="T2" fmla="*/ 12308 w 526"/>
                <a:gd name="T3" fmla="*/ 39742 h 727"/>
                <a:gd name="T4" fmla="*/ 7693 w 526"/>
                <a:gd name="T5" fmla="*/ 7154 h 727"/>
                <a:gd name="T6" fmla="*/ 20001 w 526"/>
                <a:gd name="T7" fmla="*/ 0 h 727"/>
                <a:gd name="T8" fmla="*/ 18463 w 526"/>
                <a:gd name="T9" fmla="*/ 8743 h 727"/>
                <a:gd name="T10" fmla="*/ 26925 w 526"/>
                <a:gd name="T11" fmla="*/ 15102 h 727"/>
                <a:gd name="T12" fmla="*/ 38464 w 526"/>
                <a:gd name="T13" fmla="*/ 11128 h 727"/>
                <a:gd name="T14" fmla="*/ 54619 w 526"/>
                <a:gd name="T15" fmla="*/ 16692 h 727"/>
                <a:gd name="T16" fmla="*/ 64619 w 526"/>
                <a:gd name="T17" fmla="*/ 7154 h 727"/>
                <a:gd name="T18" fmla="*/ 69235 w 526"/>
                <a:gd name="T19" fmla="*/ 15102 h 727"/>
                <a:gd name="T20" fmla="*/ 57696 w 526"/>
                <a:gd name="T21" fmla="*/ 19871 h 727"/>
                <a:gd name="T22" fmla="*/ 52311 w 526"/>
                <a:gd name="T23" fmla="*/ 31794 h 727"/>
                <a:gd name="T24" fmla="*/ 57696 w 526"/>
                <a:gd name="T25" fmla="*/ 36563 h 727"/>
                <a:gd name="T26" fmla="*/ 52311 w 526"/>
                <a:gd name="T27" fmla="*/ 38947 h 727"/>
                <a:gd name="T28" fmla="*/ 52311 w 526"/>
                <a:gd name="T29" fmla="*/ 40537 h 727"/>
                <a:gd name="T30" fmla="*/ 66158 w 526"/>
                <a:gd name="T31" fmla="*/ 58023 h 727"/>
                <a:gd name="T32" fmla="*/ 63850 w 526"/>
                <a:gd name="T33" fmla="*/ 83458 h 727"/>
                <a:gd name="T34" fmla="*/ 73082 w 526"/>
                <a:gd name="T35" fmla="*/ 95381 h 727"/>
                <a:gd name="T36" fmla="*/ 93852 w 526"/>
                <a:gd name="T37" fmla="*/ 98560 h 727"/>
                <a:gd name="T38" fmla="*/ 92314 w 526"/>
                <a:gd name="T39" fmla="*/ 107304 h 727"/>
                <a:gd name="T40" fmla="*/ 101545 w 526"/>
                <a:gd name="T41" fmla="*/ 112868 h 727"/>
                <a:gd name="T42" fmla="*/ 100006 w 526"/>
                <a:gd name="T43" fmla="*/ 120816 h 727"/>
                <a:gd name="T44" fmla="*/ 100776 w 526"/>
                <a:gd name="T45" fmla="*/ 125585 h 727"/>
                <a:gd name="T46" fmla="*/ 87698 w 526"/>
                <a:gd name="T47" fmla="*/ 133533 h 727"/>
                <a:gd name="T48" fmla="*/ 85390 w 526"/>
                <a:gd name="T49" fmla="*/ 142277 h 727"/>
                <a:gd name="T50" fmla="*/ 75389 w 526"/>
                <a:gd name="T51" fmla="*/ 144661 h 727"/>
                <a:gd name="T52" fmla="*/ 62312 w 526"/>
                <a:gd name="T53" fmla="*/ 139097 h 727"/>
                <a:gd name="T54" fmla="*/ 61542 w 526"/>
                <a:gd name="T55" fmla="*/ 125585 h 727"/>
                <a:gd name="T56" fmla="*/ 45387 w 526"/>
                <a:gd name="T57" fmla="*/ 123200 h 727"/>
                <a:gd name="T58" fmla="*/ 35387 w 526"/>
                <a:gd name="T59" fmla="*/ 130354 h 727"/>
                <a:gd name="T60" fmla="*/ 20001 w 526"/>
                <a:gd name="T61" fmla="*/ 127970 h 727"/>
                <a:gd name="T62" fmla="*/ 27694 w 526"/>
                <a:gd name="T63" fmla="*/ 108893 h 727"/>
                <a:gd name="T64" fmla="*/ 769 w 526"/>
                <a:gd name="T65" fmla="*/ 67562 h 727"/>
                <a:gd name="T66" fmla="*/ 6154 w 526"/>
                <a:gd name="T67" fmla="*/ 54049 h 727"/>
                <a:gd name="T68" fmla="*/ 0 w 526"/>
                <a:gd name="T69" fmla="*/ 47691 h 727"/>
                <a:gd name="T70" fmla="*/ 769 w 526"/>
                <a:gd name="T71" fmla="*/ 46896 h 72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26"/>
                <a:gd name="T109" fmla="*/ 0 h 727"/>
                <a:gd name="T110" fmla="*/ 526 w 526"/>
                <a:gd name="T111" fmla="*/ 727 h 72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26" h="727">
                  <a:moveTo>
                    <a:pt x="2" y="234"/>
                  </a:moveTo>
                  <a:lnTo>
                    <a:pt x="64" y="200"/>
                  </a:lnTo>
                  <a:lnTo>
                    <a:pt x="42" y="36"/>
                  </a:lnTo>
                  <a:lnTo>
                    <a:pt x="104" y="0"/>
                  </a:lnTo>
                  <a:lnTo>
                    <a:pt x="98" y="44"/>
                  </a:lnTo>
                  <a:lnTo>
                    <a:pt x="142" y="75"/>
                  </a:lnTo>
                  <a:lnTo>
                    <a:pt x="200" y="54"/>
                  </a:lnTo>
                  <a:lnTo>
                    <a:pt x="286" y="82"/>
                  </a:lnTo>
                  <a:lnTo>
                    <a:pt x="336" y="36"/>
                  </a:lnTo>
                  <a:lnTo>
                    <a:pt x="363" y="73"/>
                  </a:lnTo>
                  <a:lnTo>
                    <a:pt x="302" y="100"/>
                  </a:lnTo>
                  <a:lnTo>
                    <a:pt x="273" y="159"/>
                  </a:lnTo>
                  <a:lnTo>
                    <a:pt x="300" y="184"/>
                  </a:lnTo>
                  <a:lnTo>
                    <a:pt x="273" y="196"/>
                  </a:lnTo>
                  <a:lnTo>
                    <a:pt x="273" y="201"/>
                  </a:lnTo>
                  <a:lnTo>
                    <a:pt x="344" y="290"/>
                  </a:lnTo>
                  <a:lnTo>
                    <a:pt x="332" y="420"/>
                  </a:lnTo>
                  <a:lnTo>
                    <a:pt x="382" y="478"/>
                  </a:lnTo>
                  <a:lnTo>
                    <a:pt x="488" y="495"/>
                  </a:lnTo>
                  <a:lnTo>
                    <a:pt x="480" y="539"/>
                  </a:lnTo>
                  <a:lnTo>
                    <a:pt x="526" y="566"/>
                  </a:lnTo>
                  <a:lnTo>
                    <a:pt x="518" y="606"/>
                  </a:lnTo>
                  <a:lnTo>
                    <a:pt x="524" y="631"/>
                  </a:lnTo>
                  <a:lnTo>
                    <a:pt x="457" y="672"/>
                  </a:lnTo>
                  <a:lnTo>
                    <a:pt x="444" y="716"/>
                  </a:lnTo>
                  <a:lnTo>
                    <a:pt x="394" y="727"/>
                  </a:lnTo>
                  <a:lnTo>
                    <a:pt x="327" y="697"/>
                  </a:lnTo>
                  <a:lnTo>
                    <a:pt x="321" y="631"/>
                  </a:lnTo>
                  <a:lnTo>
                    <a:pt x="238" y="618"/>
                  </a:lnTo>
                  <a:lnTo>
                    <a:pt x="186" y="654"/>
                  </a:lnTo>
                  <a:lnTo>
                    <a:pt x="104" y="643"/>
                  </a:lnTo>
                  <a:lnTo>
                    <a:pt x="146" y="547"/>
                  </a:lnTo>
                  <a:lnTo>
                    <a:pt x="2" y="338"/>
                  </a:lnTo>
                  <a:lnTo>
                    <a:pt x="33" y="271"/>
                  </a:lnTo>
                  <a:lnTo>
                    <a:pt x="0" y="240"/>
                  </a:lnTo>
                  <a:lnTo>
                    <a:pt x="2" y="234"/>
                  </a:lnTo>
                  <a:close/>
                </a:path>
              </a:pathLst>
            </a:custGeom>
            <a:solidFill>
              <a:srgbClr val="B1726B"/>
            </a:solidFill>
            <a:ln w="9525">
              <a:solidFill>
                <a:srgbClr val="B1726B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74" name="Freeform 52"/>
            <p:cNvSpPr>
              <a:spLocks/>
            </p:cNvSpPr>
            <p:nvPr/>
          </p:nvSpPr>
          <p:spPr bwMode="gray">
            <a:xfrm>
              <a:off x="2638274" y="3051764"/>
              <a:ext cx="601577" cy="531812"/>
            </a:xfrm>
            <a:custGeom>
              <a:avLst/>
              <a:gdLst>
                <a:gd name="T0" fmla="*/ 3081 w 781"/>
                <a:gd name="T1" fmla="*/ 55397 h 672"/>
                <a:gd name="T2" fmla="*/ 22338 w 781"/>
                <a:gd name="T3" fmla="*/ 37987 h 672"/>
                <a:gd name="T4" fmla="*/ 16946 w 781"/>
                <a:gd name="T5" fmla="*/ 14245 h 672"/>
                <a:gd name="T6" fmla="*/ 23108 w 781"/>
                <a:gd name="T7" fmla="*/ 17411 h 672"/>
                <a:gd name="T8" fmla="*/ 33121 w 781"/>
                <a:gd name="T9" fmla="*/ 3957 h 672"/>
                <a:gd name="T10" fmla="*/ 40054 w 781"/>
                <a:gd name="T11" fmla="*/ 6331 h 672"/>
                <a:gd name="T12" fmla="*/ 41594 w 781"/>
                <a:gd name="T13" fmla="*/ 791 h 672"/>
                <a:gd name="T14" fmla="*/ 50838 w 781"/>
                <a:gd name="T15" fmla="*/ 0 h 672"/>
                <a:gd name="T16" fmla="*/ 54689 w 781"/>
                <a:gd name="T17" fmla="*/ 16619 h 672"/>
                <a:gd name="T18" fmla="*/ 74716 w 781"/>
                <a:gd name="T19" fmla="*/ 25324 h 672"/>
                <a:gd name="T20" fmla="*/ 100134 w 781"/>
                <a:gd name="T21" fmla="*/ 25324 h 672"/>
                <a:gd name="T22" fmla="*/ 101675 w 781"/>
                <a:gd name="T23" fmla="*/ 33238 h 672"/>
                <a:gd name="T24" fmla="*/ 112459 w 781"/>
                <a:gd name="T25" fmla="*/ 31655 h 672"/>
                <a:gd name="T26" fmla="*/ 122472 w 781"/>
                <a:gd name="T27" fmla="*/ 43526 h 672"/>
                <a:gd name="T28" fmla="*/ 128634 w 781"/>
                <a:gd name="T29" fmla="*/ 49857 h 672"/>
                <a:gd name="T30" fmla="*/ 123242 w 781"/>
                <a:gd name="T31" fmla="*/ 63311 h 672"/>
                <a:gd name="T32" fmla="*/ 150972 w 781"/>
                <a:gd name="T33" fmla="*/ 104463 h 672"/>
                <a:gd name="T34" fmla="*/ 142499 w 781"/>
                <a:gd name="T35" fmla="*/ 123456 h 672"/>
                <a:gd name="T36" fmla="*/ 121702 w 781"/>
                <a:gd name="T37" fmla="*/ 119499 h 672"/>
                <a:gd name="T38" fmla="*/ 116310 w 781"/>
                <a:gd name="T39" fmla="*/ 125831 h 672"/>
                <a:gd name="T40" fmla="*/ 104756 w 781"/>
                <a:gd name="T41" fmla="*/ 113960 h 672"/>
                <a:gd name="T42" fmla="*/ 90891 w 781"/>
                <a:gd name="T43" fmla="*/ 113960 h 672"/>
                <a:gd name="T44" fmla="*/ 67783 w 781"/>
                <a:gd name="T45" fmla="*/ 124248 h 672"/>
                <a:gd name="T46" fmla="*/ 58540 w 781"/>
                <a:gd name="T47" fmla="*/ 132162 h 672"/>
                <a:gd name="T48" fmla="*/ 46216 w 781"/>
                <a:gd name="T49" fmla="*/ 119499 h 672"/>
                <a:gd name="T50" fmla="*/ 30040 w 781"/>
                <a:gd name="T51" fmla="*/ 119499 h 672"/>
                <a:gd name="T52" fmla="*/ 27730 w 781"/>
                <a:gd name="T53" fmla="*/ 111586 h 672"/>
                <a:gd name="T54" fmla="*/ 12324 w 781"/>
                <a:gd name="T55" fmla="*/ 106837 h 672"/>
                <a:gd name="T56" fmla="*/ 10013 w 781"/>
                <a:gd name="T57" fmla="*/ 70433 h 672"/>
                <a:gd name="T58" fmla="*/ 0 w 781"/>
                <a:gd name="T59" fmla="*/ 57771 h 672"/>
                <a:gd name="T60" fmla="*/ 3081 w 781"/>
                <a:gd name="T61" fmla="*/ 55397 h 67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781"/>
                <a:gd name="T94" fmla="*/ 0 h 672"/>
                <a:gd name="T95" fmla="*/ 781 w 781"/>
                <a:gd name="T96" fmla="*/ 672 h 67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781" h="672">
                  <a:moveTo>
                    <a:pt x="13" y="282"/>
                  </a:moveTo>
                  <a:lnTo>
                    <a:pt x="113" y="192"/>
                  </a:lnTo>
                  <a:lnTo>
                    <a:pt x="88" y="75"/>
                  </a:lnTo>
                  <a:lnTo>
                    <a:pt x="119" y="89"/>
                  </a:lnTo>
                  <a:lnTo>
                    <a:pt x="169" y="21"/>
                  </a:lnTo>
                  <a:lnTo>
                    <a:pt x="205" y="35"/>
                  </a:lnTo>
                  <a:lnTo>
                    <a:pt x="213" y="6"/>
                  </a:lnTo>
                  <a:lnTo>
                    <a:pt x="261" y="0"/>
                  </a:lnTo>
                  <a:lnTo>
                    <a:pt x="284" y="87"/>
                  </a:lnTo>
                  <a:lnTo>
                    <a:pt x="386" y="129"/>
                  </a:lnTo>
                  <a:lnTo>
                    <a:pt x="518" y="129"/>
                  </a:lnTo>
                  <a:lnTo>
                    <a:pt x="526" y="169"/>
                  </a:lnTo>
                  <a:lnTo>
                    <a:pt x="583" y="163"/>
                  </a:lnTo>
                  <a:lnTo>
                    <a:pt x="635" y="223"/>
                  </a:lnTo>
                  <a:lnTo>
                    <a:pt x="668" y="254"/>
                  </a:lnTo>
                  <a:lnTo>
                    <a:pt x="637" y="321"/>
                  </a:lnTo>
                  <a:lnTo>
                    <a:pt x="781" y="530"/>
                  </a:lnTo>
                  <a:lnTo>
                    <a:pt x="739" y="626"/>
                  </a:lnTo>
                  <a:lnTo>
                    <a:pt x="631" y="607"/>
                  </a:lnTo>
                  <a:lnTo>
                    <a:pt x="604" y="639"/>
                  </a:lnTo>
                  <a:lnTo>
                    <a:pt x="541" y="578"/>
                  </a:lnTo>
                  <a:lnTo>
                    <a:pt x="470" y="578"/>
                  </a:lnTo>
                  <a:lnTo>
                    <a:pt x="349" y="632"/>
                  </a:lnTo>
                  <a:lnTo>
                    <a:pt x="301" y="672"/>
                  </a:lnTo>
                  <a:lnTo>
                    <a:pt x="240" y="607"/>
                  </a:lnTo>
                  <a:lnTo>
                    <a:pt x="155" y="607"/>
                  </a:lnTo>
                  <a:lnTo>
                    <a:pt x="142" y="566"/>
                  </a:lnTo>
                  <a:lnTo>
                    <a:pt x="61" y="543"/>
                  </a:lnTo>
                  <a:lnTo>
                    <a:pt x="50" y="357"/>
                  </a:lnTo>
                  <a:lnTo>
                    <a:pt x="0" y="294"/>
                  </a:lnTo>
                  <a:lnTo>
                    <a:pt x="13" y="282"/>
                  </a:lnTo>
                  <a:close/>
                </a:path>
              </a:pathLst>
            </a:custGeom>
            <a:solidFill>
              <a:srgbClr val="B1726B"/>
            </a:solidFill>
            <a:ln w="9525">
              <a:solidFill>
                <a:srgbClr val="B1726B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75" name="Freeform 57"/>
            <p:cNvSpPr>
              <a:spLocks/>
            </p:cNvSpPr>
            <p:nvPr/>
          </p:nvSpPr>
          <p:spPr bwMode="gray">
            <a:xfrm>
              <a:off x="3196772" y="3539129"/>
              <a:ext cx="390794" cy="611187"/>
            </a:xfrm>
            <a:custGeom>
              <a:avLst/>
              <a:gdLst>
                <a:gd name="T0" fmla="*/ 9213 w 509"/>
                <a:gd name="T1" fmla="*/ 113212 h 772"/>
                <a:gd name="T2" fmla="*/ 13052 w 509"/>
                <a:gd name="T3" fmla="*/ 125088 h 772"/>
                <a:gd name="T4" fmla="*/ 20730 w 509"/>
                <a:gd name="T5" fmla="*/ 133796 h 772"/>
                <a:gd name="T6" fmla="*/ 18426 w 509"/>
                <a:gd name="T7" fmla="*/ 144088 h 772"/>
                <a:gd name="T8" fmla="*/ 26104 w 509"/>
                <a:gd name="T9" fmla="*/ 142505 h 772"/>
                <a:gd name="T10" fmla="*/ 39156 w 509"/>
                <a:gd name="T11" fmla="*/ 152005 h 772"/>
                <a:gd name="T12" fmla="*/ 45298 w 509"/>
                <a:gd name="T13" fmla="*/ 141713 h 772"/>
                <a:gd name="T14" fmla="*/ 50673 w 509"/>
                <a:gd name="T15" fmla="*/ 140921 h 772"/>
                <a:gd name="T16" fmla="*/ 56047 w 509"/>
                <a:gd name="T17" fmla="*/ 150422 h 772"/>
                <a:gd name="T18" fmla="*/ 61421 w 509"/>
                <a:gd name="T19" fmla="*/ 141713 h 772"/>
                <a:gd name="T20" fmla="*/ 76009 w 509"/>
                <a:gd name="T21" fmla="*/ 149630 h 772"/>
                <a:gd name="T22" fmla="*/ 76009 w 509"/>
                <a:gd name="T23" fmla="*/ 149630 h 772"/>
                <a:gd name="T24" fmla="*/ 76777 w 509"/>
                <a:gd name="T25" fmla="*/ 142505 h 772"/>
                <a:gd name="T26" fmla="*/ 80616 w 509"/>
                <a:gd name="T27" fmla="*/ 111629 h 772"/>
                <a:gd name="T28" fmla="*/ 87526 w 509"/>
                <a:gd name="T29" fmla="*/ 97378 h 772"/>
                <a:gd name="T30" fmla="*/ 85990 w 509"/>
                <a:gd name="T31" fmla="*/ 81544 h 772"/>
                <a:gd name="T32" fmla="*/ 97507 w 509"/>
                <a:gd name="T33" fmla="*/ 58585 h 772"/>
                <a:gd name="T34" fmla="*/ 87526 w 509"/>
                <a:gd name="T35" fmla="*/ 8709 h 772"/>
                <a:gd name="T36" fmla="*/ 83687 w 509"/>
                <a:gd name="T37" fmla="*/ 0 h 772"/>
                <a:gd name="T38" fmla="*/ 69867 w 509"/>
                <a:gd name="T39" fmla="*/ 7125 h 772"/>
                <a:gd name="T40" fmla="*/ 68331 w 509"/>
                <a:gd name="T41" fmla="*/ 16626 h 772"/>
                <a:gd name="T42" fmla="*/ 58350 w 509"/>
                <a:gd name="T43" fmla="*/ 18209 h 772"/>
                <a:gd name="T44" fmla="*/ 55279 w 509"/>
                <a:gd name="T45" fmla="*/ 34043 h 772"/>
                <a:gd name="T46" fmla="*/ 48369 w 509"/>
                <a:gd name="T47" fmla="*/ 31668 h 772"/>
                <a:gd name="T48" fmla="*/ 48369 w 509"/>
                <a:gd name="T49" fmla="*/ 45918 h 772"/>
                <a:gd name="T50" fmla="*/ 40692 w 509"/>
                <a:gd name="T51" fmla="*/ 48293 h 772"/>
                <a:gd name="T52" fmla="*/ 41459 w 509"/>
                <a:gd name="T53" fmla="*/ 54627 h 772"/>
                <a:gd name="T54" fmla="*/ 33782 w 509"/>
                <a:gd name="T55" fmla="*/ 56210 h 772"/>
                <a:gd name="T56" fmla="*/ 27640 w 509"/>
                <a:gd name="T57" fmla="*/ 68086 h 772"/>
                <a:gd name="T58" fmla="*/ 15355 w 509"/>
                <a:gd name="T59" fmla="*/ 69669 h 772"/>
                <a:gd name="T60" fmla="*/ 0 w 509"/>
                <a:gd name="T61" fmla="*/ 86295 h 772"/>
                <a:gd name="T62" fmla="*/ 0 w 509"/>
                <a:gd name="T63" fmla="*/ 91045 h 772"/>
                <a:gd name="T64" fmla="*/ 9213 w 509"/>
                <a:gd name="T65" fmla="*/ 113212 h 77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509"/>
                <a:gd name="T100" fmla="*/ 0 h 772"/>
                <a:gd name="T101" fmla="*/ 509 w 509"/>
                <a:gd name="T102" fmla="*/ 772 h 77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509" h="772">
                  <a:moveTo>
                    <a:pt x="48" y="574"/>
                  </a:moveTo>
                  <a:lnTo>
                    <a:pt x="70" y="636"/>
                  </a:lnTo>
                  <a:lnTo>
                    <a:pt x="108" y="678"/>
                  </a:lnTo>
                  <a:lnTo>
                    <a:pt x="98" y="732"/>
                  </a:lnTo>
                  <a:lnTo>
                    <a:pt x="137" y="722"/>
                  </a:lnTo>
                  <a:lnTo>
                    <a:pt x="204" y="772"/>
                  </a:lnTo>
                  <a:lnTo>
                    <a:pt x="238" y="720"/>
                  </a:lnTo>
                  <a:lnTo>
                    <a:pt x="267" y="714"/>
                  </a:lnTo>
                  <a:lnTo>
                    <a:pt x="294" y="762"/>
                  </a:lnTo>
                  <a:lnTo>
                    <a:pt x="321" y="718"/>
                  </a:lnTo>
                  <a:lnTo>
                    <a:pt x="396" y="760"/>
                  </a:lnTo>
                  <a:lnTo>
                    <a:pt x="398" y="758"/>
                  </a:lnTo>
                  <a:lnTo>
                    <a:pt x="402" y="724"/>
                  </a:lnTo>
                  <a:lnTo>
                    <a:pt x="421" y="568"/>
                  </a:lnTo>
                  <a:lnTo>
                    <a:pt x="459" y="495"/>
                  </a:lnTo>
                  <a:lnTo>
                    <a:pt x="448" y="415"/>
                  </a:lnTo>
                  <a:lnTo>
                    <a:pt x="509" y="296"/>
                  </a:lnTo>
                  <a:lnTo>
                    <a:pt x="459" y="46"/>
                  </a:lnTo>
                  <a:lnTo>
                    <a:pt x="436" y="0"/>
                  </a:lnTo>
                  <a:lnTo>
                    <a:pt x="367" y="37"/>
                  </a:lnTo>
                  <a:lnTo>
                    <a:pt x="356" y="85"/>
                  </a:lnTo>
                  <a:lnTo>
                    <a:pt x="306" y="94"/>
                  </a:lnTo>
                  <a:lnTo>
                    <a:pt x="290" y="175"/>
                  </a:lnTo>
                  <a:lnTo>
                    <a:pt x="252" y="160"/>
                  </a:lnTo>
                  <a:lnTo>
                    <a:pt x="254" y="233"/>
                  </a:lnTo>
                  <a:lnTo>
                    <a:pt x="212" y="244"/>
                  </a:lnTo>
                  <a:lnTo>
                    <a:pt x="219" y="279"/>
                  </a:lnTo>
                  <a:lnTo>
                    <a:pt x="179" y="284"/>
                  </a:lnTo>
                  <a:lnTo>
                    <a:pt x="144" y="346"/>
                  </a:lnTo>
                  <a:lnTo>
                    <a:pt x="83" y="352"/>
                  </a:lnTo>
                  <a:lnTo>
                    <a:pt x="0" y="438"/>
                  </a:lnTo>
                  <a:lnTo>
                    <a:pt x="0" y="463"/>
                  </a:lnTo>
                  <a:lnTo>
                    <a:pt x="48" y="574"/>
                  </a:lnTo>
                  <a:close/>
                </a:path>
              </a:pathLst>
            </a:custGeom>
            <a:solidFill>
              <a:srgbClr val="CEA09D"/>
            </a:solidFill>
            <a:ln w="9525">
              <a:solidFill>
                <a:srgbClr val="CEA09D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76" name="Freeform 60"/>
            <p:cNvSpPr>
              <a:spLocks/>
            </p:cNvSpPr>
            <p:nvPr/>
          </p:nvSpPr>
          <p:spPr bwMode="gray">
            <a:xfrm>
              <a:off x="2425954" y="3778839"/>
              <a:ext cx="613885" cy="690562"/>
            </a:xfrm>
            <a:custGeom>
              <a:avLst/>
              <a:gdLst>
                <a:gd name="T0" fmla="*/ 1537 w 799"/>
                <a:gd name="T1" fmla="*/ 81850 h 869"/>
                <a:gd name="T2" fmla="*/ 768 w 799"/>
                <a:gd name="T3" fmla="*/ 89002 h 869"/>
                <a:gd name="T4" fmla="*/ 9988 w 799"/>
                <a:gd name="T5" fmla="*/ 90592 h 869"/>
                <a:gd name="T6" fmla="*/ 2305 w 799"/>
                <a:gd name="T7" fmla="*/ 100128 h 869"/>
                <a:gd name="T8" fmla="*/ 12293 w 799"/>
                <a:gd name="T9" fmla="*/ 108074 h 869"/>
                <a:gd name="T10" fmla="*/ 27659 w 799"/>
                <a:gd name="T11" fmla="*/ 101717 h 869"/>
                <a:gd name="T12" fmla="*/ 35343 w 799"/>
                <a:gd name="T13" fmla="*/ 108074 h 869"/>
                <a:gd name="T14" fmla="*/ 30733 w 799"/>
                <a:gd name="T15" fmla="*/ 110458 h 869"/>
                <a:gd name="T16" fmla="*/ 44562 w 799"/>
                <a:gd name="T17" fmla="*/ 112047 h 869"/>
                <a:gd name="T18" fmla="*/ 60697 w 799"/>
                <a:gd name="T19" fmla="*/ 127941 h 869"/>
                <a:gd name="T20" fmla="*/ 72990 w 799"/>
                <a:gd name="T21" fmla="*/ 160522 h 869"/>
                <a:gd name="T22" fmla="*/ 84515 w 799"/>
                <a:gd name="T23" fmla="*/ 168469 h 869"/>
                <a:gd name="T24" fmla="*/ 99881 w 799"/>
                <a:gd name="T25" fmla="*/ 166085 h 869"/>
                <a:gd name="T26" fmla="*/ 102954 w 799"/>
                <a:gd name="T27" fmla="*/ 173236 h 869"/>
                <a:gd name="T28" fmla="*/ 115248 w 799"/>
                <a:gd name="T29" fmla="*/ 173236 h 869"/>
                <a:gd name="T30" fmla="*/ 116016 w 799"/>
                <a:gd name="T31" fmla="*/ 153370 h 869"/>
                <a:gd name="T32" fmla="*/ 131382 w 799"/>
                <a:gd name="T33" fmla="*/ 155754 h 869"/>
                <a:gd name="T34" fmla="*/ 135224 w 799"/>
                <a:gd name="T35" fmla="*/ 145423 h 869"/>
                <a:gd name="T36" fmla="*/ 145212 w 799"/>
                <a:gd name="T37" fmla="*/ 142245 h 869"/>
                <a:gd name="T38" fmla="*/ 152895 w 799"/>
                <a:gd name="T39" fmla="*/ 127941 h 869"/>
                <a:gd name="T40" fmla="*/ 135992 w 799"/>
                <a:gd name="T41" fmla="*/ 119199 h 869"/>
                <a:gd name="T42" fmla="*/ 145212 w 799"/>
                <a:gd name="T43" fmla="*/ 106485 h 869"/>
                <a:gd name="T44" fmla="*/ 129077 w 799"/>
                <a:gd name="T45" fmla="*/ 103306 h 869"/>
                <a:gd name="T46" fmla="*/ 131382 w 799"/>
                <a:gd name="T47" fmla="*/ 98538 h 869"/>
                <a:gd name="T48" fmla="*/ 120626 w 799"/>
                <a:gd name="T49" fmla="*/ 94565 h 869"/>
                <a:gd name="T50" fmla="*/ 122931 w 799"/>
                <a:gd name="T51" fmla="*/ 69930 h 869"/>
                <a:gd name="T52" fmla="*/ 107564 w 799"/>
                <a:gd name="T53" fmla="*/ 41322 h 869"/>
                <a:gd name="T54" fmla="*/ 103723 w 799"/>
                <a:gd name="T55" fmla="*/ 22251 h 869"/>
                <a:gd name="T56" fmla="*/ 96808 w 799"/>
                <a:gd name="T57" fmla="*/ 10331 h 869"/>
                <a:gd name="T58" fmla="*/ 87588 w 799"/>
                <a:gd name="T59" fmla="*/ 10331 h 869"/>
                <a:gd name="T60" fmla="*/ 85283 w 799"/>
                <a:gd name="T61" fmla="*/ 0 h 869"/>
                <a:gd name="T62" fmla="*/ 72222 w 799"/>
                <a:gd name="T63" fmla="*/ 12715 h 869"/>
                <a:gd name="T64" fmla="*/ 59929 w 799"/>
                <a:gd name="T65" fmla="*/ 39733 h 869"/>
                <a:gd name="T66" fmla="*/ 45331 w 799"/>
                <a:gd name="T67" fmla="*/ 36554 h 869"/>
                <a:gd name="T68" fmla="*/ 34574 w 799"/>
                <a:gd name="T69" fmla="*/ 42912 h 869"/>
                <a:gd name="T70" fmla="*/ 0 w 799"/>
                <a:gd name="T71" fmla="*/ 61984 h 869"/>
                <a:gd name="T72" fmla="*/ 1537 w 799"/>
                <a:gd name="T73" fmla="*/ 81850 h 86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799"/>
                <a:gd name="T112" fmla="*/ 0 h 869"/>
                <a:gd name="T113" fmla="*/ 799 w 799"/>
                <a:gd name="T114" fmla="*/ 869 h 869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799" h="869">
                  <a:moveTo>
                    <a:pt x="10" y="412"/>
                  </a:moveTo>
                  <a:lnTo>
                    <a:pt x="4" y="445"/>
                  </a:lnTo>
                  <a:lnTo>
                    <a:pt x="54" y="456"/>
                  </a:lnTo>
                  <a:lnTo>
                    <a:pt x="14" y="502"/>
                  </a:lnTo>
                  <a:lnTo>
                    <a:pt x="66" y="543"/>
                  </a:lnTo>
                  <a:lnTo>
                    <a:pt x="144" y="512"/>
                  </a:lnTo>
                  <a:lnTo>
                    <a:pt x="185" y="543"/>
                  </a:lnTo>
                  <a:lnTo>
                    <a:pt x="162" y="556"/>
                  </a:lnTo>
                  <a:lnTo>
                    <a:pt x="235" y="564"/>
                  </a:lnTo>
                  <a:lnTo>
                    <a:pt x="317" y="642"/>
                  </a:lnTo>
                  <a:lnTo>
                    <a:pt x="381" y="806"/>
                  </a:lnTo>
                  <a:lnTo>
                    <a:pt x="440" y="846"/>
                  </a:lnTo>
                  <a:lnTo>
                    <a:pt x="521" y="834"/>
                  </a:lnTo>
                  <a:lnTo>
                    <a:pt x="538" y="869"/>
                  </a:lnTo>
                  <a:lnTo>
                    <a:pt x="601" y="869"/>
                  </a:lnTo>
                  <a:lnTo>
                    <a:pt x="605" y="771"/>
                  </a:lnTo>
                  <a:lnTo>
                    <a:pt x="684" y="784"/>
                  </a:lnTo>
                  <a:lnTo>
                    <a:pt x="705" y="731"/>
                  </a:lnTo>
                  <a:lnTo>
                    <a:pt x="759" y="715"/>
                  </a:lnTo>
                  <a:lnTo>
                    <a:pt x="799" y="642"/>
                  </a:lnTo>
                  <a:lnTo>
                    <a:pt x="709" y="600"/>
                  </a:lnTo>
                  <a:lnTo>
                    <a:pt x="759" y="535"/>
                  </a:lnTo>
                  <a:lnTo>
                    <a:pt x="674" y="520"/>
                  </a:lnTo>
                  <a:lnTo>
                    <a:pt x="684" y="495"/>
                  </a:lnTo>
                  <a:lnTo>
                    <a:pt x="630" y="474"/>
                  </a:lnTo>
                  <a:lnTo>
                    <a:pt x="642" y="351"/>
                  </a:lnTo>
                  <a:lnTo>
                    <a:pt x="563" y="205"/>
                  </a:lnTo>
                  <a:lnTo>
                    <a:pt x="540" y="111"/>
                  </a:lnTo>
                  <a:lnTo>
                    <a:pt x="507" y="51"/>
                  </a:lnTo>
                  <a:lnTo>
                    <a:pt x="459" y="51"/>
                  </a:lnTo>
                  <a:lnTo>
                    <a:pt x="444" y="0"/>
                  </a:lnTo>
                  <a:lnTo>
                    <a:pt x="379" y="63"/>
                  </a:lnTo>
                  <a:lnTo>
                    <a:pt x="315" y="199"/>
                  </a:lnTo>
                  <a:lnTo>
                    <a:pt x="237" y="184"/>
                  </a:lnTo>
                  <a:lnTo>
                    <a:pt x="183" y="216"/>
                  </a:lnTo>
                  <a:lnTo>
                    <a:pt x="0" y="309"/>
                  </a:lnTo>
                  <a:lnTo>
                    <a:pt x="10" y="412"/>
                  </a:lnTo>
                  <a:close/>
                </a:path>
              </a:pathLst>
            </a:custGeom>
            <a:solidFill>
              <a:srgbClr val="CEA09D"/>
            </a:solidFill>
            <a:ln w="9525">
              <a:solidFill>
                <a:srgbClr val="CEA09D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77" name="Freeform 63"/>
            <p:cNvSpPr>
              <a:spLocks/>
            </p:cNvSpPr>
            <p:nvPr/>
          </p:nvSpPr>
          <p:spPr bwMode="gray">
            <a:xfrm>
              <a:off x="2510761" y="3482212"/>
              <a:ext cx="493311" cy="470572"/>
            </a:xfrm>
            <a:custGeom>
              <a:avLst/>
              <a:gdLst>
                <a:gd name="T0" fmla="*/ 1 w 641"/>
                <a:gd name="T1" fmla="*/ 90 h 593"/>
                <a:gd name="T2" fmla="*/ 13 w 641"/>
                <a:gd name="T3" fmla="*/ 119 h 593"/>
                <a:gd name="T4" fmla="*/ 7 w 641"/>
                <a:gd name="T5" fmla="*/ 134 h 593"/>
                <a:gd name="T6" fmla="*/ 17 w 641"/>
                <a:gd name="T7" fmla="*/ 149 h 593"/>
                <a:gd name="T8" fmla="*/ 32 w 641"/>
                <a:gd name="T9" fmla="*/ 140 h 593"/>
                <a:gd name="T10" fmla="*/ 51 w 641"/>
                <a:gd name="T11" fmla="*/ 143 h 593"/>
                <a:gd name="T12" fmla="*/ 67 w 641"/>
                <a:gd name="T13" fmla="*/ 110 h 593"/>
                <a:gd name="T14" fmla="*/ 82 w 641"/>
                <a:gd name="T15" fmla="*/ 95 h 593"/>
                <a:gd name="T16" fmla="*/ 88 w 641"/>
                <a:gd name="T17" fmla="*/ 107 h 593"/>
                <a:gd name="T18" fmla="*/ 100 w 641"/>
                <a:gd name="T19" fmla="*/ 107 h 593"/>
                <a:gd name="T20" fmla="*/ 107 w 641"/>
                <a:gd name="T21" fmla="*/ 122 h 593"/>
                <a:gd name="T22" fmla="*/ 113 w 641"/>
                <a:gd name="T23" fmla="*/ 145 h 593"/>
                <a:gd name="T24" fmla="*/ 115 w 641"/>
                <a:gd name="T25" fmla="*/ 142 h 593"/>
                <a:gd name="T26" fmla="*/ 128 w 641"/>
                <a:gd name="T27" fmla="*/ 104 h 593"/>
                <a:gd name="T28" fmla="*/ 139 w 641"/>
                <a:gd name="T29" fmla="*/ 107 h 593"/>
                <a:gd name="T30" fmla="*/ 145 w 641"/>
                <a:gd name="T31" fmla="*/ 94 h 593"/>
                <a:gd name="T32" fmla="*/ 161 w 641"/>
                <a:gd name="T33" fmla="*/ 89 h 593"/>
                <a:gd name="T34" fmla="*/ 151 w 641"/>
                <a:gd name="T35" fmla="*/ 65 h 593"/>
                <a:gd name="T36" fmla="*/ 159 w 641"/>
                <a:gd name="T37" fmla="*/ 66 h 593"/>
                <a:gd name="T38" fmla="*/ 143 w 641"/>
                <a:gd name="T39" fmla="*/ 36 h 593"/>
                <a:gd name="T40" fmla="*/ 126 w 641"/>
                <a:gd name="T41" fmla="*/ 33 h 593"/>
                <a:gd name="T42" fmla="*/ 129 w 641"/>
                <a:gd name="T43" fmla="*/ 23 h 593"/>
                <a:gd name="T44" fmla="*/ 117 w 641"/>
                <a:gd name="T45" fmla="*/ 33 h 593"/>
                <a:gd name="T46" fmla="*/ 102 w 641"/>
                <a:gd name="T47" fmla="*/ 16 h 593"/>
                <a:gd name="T48" fmla="*/ 80 w 641"/>
                <a:gd name="T49" fmla="*/ 16 h 593"/>
                <a:gd name="T50" fmla="*/ 79 w 641"/>
                <a:gd name="T51" fmla="*/ 7 h 593"/>
                <a:gd name="T52" fmla="*/ 58 w 641"/>
                <a:gd name="T53" fmla="*/ 0 h 593"/>
                <a:gd name="T54" fmla="*/ 58 w 641"/>
                <a:gd name="T55" fmla="*/ 16 h 593"/>
                <a:gd name="T56" fmla="*/ 36 w 641"/>
                <a:gd name="T57" fmla="*/ 11 h 593"/>
                <a:gd name="T58" fmla="*/ 36 w 641"/>
                <a:gd name="T59" fmla="*/ 23 h 593"/>
                <a:gd name="T60" fmla="*/ 17 w 641"/>
                <a:gd name="T61" fmla="*/ 43 h 593"/>
                <a:gd name="T62" fmla="*/ 21 w 641"/>
                <a:gd name="T63" fmla="*/ 52 h 593"/>
                <a:gd name="T64" fmla="*/ 14 w 641"/>
                <a:gd name="T65" fmla="*/ 67 h 593"/>
                <a:gd name="T66" fmla="*/ 4 w 641"/>
                <a:gd name="T67" fmla="*/ 72 h 593"/>
                <a:gd name="T68" fmla="*/ 8 w 641"/>
                <a:gd name="T69" fmla="*/ 85 h 593"/>
                <a:gd name="T70" fmla="*/ 0 w 641"/>
                <a:gd name="T71" fmla="*/ 86 h 593"/>
                <a:gd name="T72" fmla="*/ 1 w 641"/>
                <a:gd name="T73" fmla="*/ 90 h 59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41"/>
                <a:gd name="T112" fmla="*/ 0 h 593"/>
                <a:gd name="T113" fmla="*/ 641 w 641"/>
                <a:gd name="T114" fmla="*/ 593 h 59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41" h="593">
                  <a:moveTo>
                    <a:pt x="2" y="359"/>
                  </a:moveTo>
                  <a:lnTo>
                    <a:pt x="50" y="474"/>
                  </a:lnTo>
                  <a:lnTo>
                    <a:pt x="27" y="536"/>
                  </a:lnTo>
                  <a:lnTo>
                    <a:pt x="67" y="593"/>
                  </a:lnTo>
                  <a:lnTo>
                    <a:pt x="125" y="559"/>
                  </a:lnTo>
                  <a:lnTo>
                    <a:pt x="203" y="572"/>
                  </a:lnTo>
                  <a:lnTo>
                    <a:pt x="265" y="438"/>
                  </a:lnTo>
                  <a:lnTo>
                    <a:pt x="328" y="378"/>
                  </a:lnTo>
                  <a:lnTo>
                    <a:pt x="351" y="426"/>
                  </a:lnTo>
                  <a:lnTo>
                    <a:pt x="399" y="426"/>
                  </a:lnTo>
                  <a:lnTo>
                    <a:pt x="428" y="486"/>
                  </a:lnTo>
                  <a:lnTo>
                    <a:pt x="451" y="580"/>
                  </a:lnTo>
                  <a:lnTo>
                    <a:pt x="457" y="568"/>
                  </a:lnTo>
                  <a:lnTo>
                    <a:pt x="512" y="413"/>
                  </a:lnTo>
                  <a:lnTo>
                    <a:pt x="553" y="426"/>
                  </a:lnTo>
                  <a:lnTo>
                    <a:pt x="578" y="375"/>
                  </a:lnTo>
                  <a:lnTo>
                    <a:pt x="641" y="353"/>
                  </a:lnTo>
                  <a:lnTo>
                    <a:pt x="604" y="257"/>
                  </a:lnTo>
                  <a:lnTo>
                    <a:pt x="635" y="261"/>
                  </a:lnTo>
                  <a:lnTo>
                    <a:pt x="572" y="142"/>
                  </a:lnTo>
                  <a:lnTo>
                    <a:pt x="503" y="129"/>
                  </a:lnTo>
                  <a:lnTo>
                    <a:pt x="514" y="89"/>
                  </a:lnTo>
                  <a:lnTo>
                    <a:pt x="466" y="129"/>
                  </a:lnTo>
                  <a:lnTo>
                    <a:pt x="405" y="64"/>
                  </a:lnTo>
                  <a:lnTo>
                    <a:pt x="320" y="62"/>
                  </a:lnTo>
                  <a:lnTo>
                    <a:pt x="315" y="27"/>
                  </a:lnTo>
                  <a:lnTo>
                    <a:pt x="230" y="0"/>
                  </a:lnTo>
                  <a:lnTo>
                    <a:pt x="230" y="64"/>
                  </a:lnTo>
                  <a:lnTo>
                    <a:pt x="144" y="41"/>
                  </a:lnTo>
                  <a:lnTo>
                    <a:pt x="144" y="91"/>
                  </a:lnTo>
                  <a:lnTo>
                    <a:pt x="67" y="171"/>
                  </a:lnTo>
                  <a:lnTo>
                    <a:pt x="82" y="208"/>
                  </a:lnTo>
                  <a:lnTo>
                    <a:pt x="54" y="267"/>
                  </a:lnTo>
                  <a:lnTo>
                    <a:pt x="15" y="288"/>
                  </a:lnTo>
                  <a:lnTo>
                    <a:pt x="32" y="338"/>
                  </a:lnTo>
                  <a:lnTo>
                    <a:pt x="0" y="344"/>
                  </a:lnTo>
                  <a:lnTo>
                    <a:pt x="2" y="359"/>
                  </a:lnTo>
                  <a:close/>
                </a:path>
              </a:pathLst>
            </a:custGeom>
            <a:solidFill>
              <a:srgbClr val="99DFB9"/>
            </a:solidFill>
            <a:ln w="9525">
              <a:solidFill>
                <a:srgbClr val="99DFB9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anchor="ctr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FFFFFF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78" name="Freeform 64"/>
            <p:cNvSpPr>
              <a:spLocks/>
            </p:cNvSpPr>
            <p:nvPr/>
          </p:nvSpPr>
          <p:spPr bwMode="gray">
            <a:xfrm>
              <a:off x="2196343" y="3318535"/>
              <a:ext cx="493311" cy="461271"/>
            </a:xfrm>
            <a:custGeom>
              <a:avLst/>
              <a:gdLst>
                <a:gd name="T0" fmla="*/ 1 w 639"/>
                <a:gd name="T1" fmla="*/ 96 h 583"/>
                <a:gd name="T2" fmla="*/ 22 w 639"/>
                <a:gd name="T3" fmla="*/ 110 h 583"/>
                <a:gd name="T4" fmla="*/ 18 w 639"/>
                <a:gd name="T5" fmla="*/ 113 h 583"/>
                <a:gd name="T6" fmla="*/ 27 w 639"/>
                <a:gd name="T7" fmla="*/ 128 h 583"/>
                <a:gd name="T8" fmla="*/ 49 w 639"/>
                <a:gd name="T9" fmla="*/ 126 h 583"/>
                <a:gd name="T10" fmla="*/ 66 w 639"/>
                <a:gd name="T11" fmla="*/ 145 h 583"/>
                <a:gd name="T12" fmla="*/ 103 w 639"/>
                <a:gd name="T13" fmla="*/ 137 h 583"/>
                <a:gd name="T14" fmla="*/ 111 w 639"/>
                <a:gd name="T15" fmla="*/ 137 h 583"/>
                <a:gd name="T16" fmla="*/ 106 w 639"/>
                <a:gd name="T17" fmla="*/ 123 h 583"/>
                <a:gd name="T18" fmla="*/ 115 w 639"/>
                <a:gd name="T19" fmla="*/ 119 h 583"/>
                <a:gd name="T20" fmla="*/ 123 w 639"/>
                <a:gd name="T21" fmla="*/ 103 h 583"/>
                <a:gd name="T22" fmla="*/ 120 w 639"/>
                <a:gd name="T23" fmla="*/ 94 h 583"/>
                <a:gd name="T24" fmla="*/ 139 w 639"/>
                <a:gd name="T25" fmla="*/ 74 h 583"/>
                <a:gd name="T26" fmla="*/ 139 w 639"/>
                <a:gd name="T27" fmla="*/ 62 h 583"/>
                <a:gd name="T28" fmla="*/ 160 w 639"/>
                <a:gd name="T29" fmla="*/ 67 h 583"/>
                <a:gd name="T30" fmla="*/ 160 w 639"/>
                <a:gd name="T31" fmla="*/ 51 h 583"/>
                <a:gd name="T32" fmla="*/ 157 w 639"/>
                <a:gd name="T33" fmla="*/ 4 h 583"/>
                <a:gd name="T34" fmla="*/ 129 w 639"/>
                <a:gd name="T35" fmla="*/ 18 h 583"/>
                <a:gd name="T36" fmla="*/ 103 w 639"/>
                <a:gd name="T37" fmla="*/ 0 h 583"/>
                <a:gd name="T38" fmla="*/ 84 w 639"/>
                <a:gd name="T39" fmla="*/ 10 h 583"/>
                <a:gd name="T40" fmla="*/ 5 w 639"/>
                <a:gd name="T41" fmla="*/ 52 h 583"/>
                <a:gd name="T42" fmla="*/ 13 w 639"/>
                <a:gd name="T43" fmla="*/ 63 h 583"/>
                <a:gd name="T44" fmla="*/ 2 w 639"/>
                <a:gd name="T45" fmla="*/ 74 h 583"/>
                <a:gd name="T46" fmla="*/ 7 w 639"/>
                <a:gd name="T47" fmla="*/ 88 h 583"/>
                <a:gd name="T48" fmla="*/ 0 w 639"/>
                <a:gd name="T49" fmla="*/ 93 h 583"/>
                <a:gd name="T50" fmla="*/ 1 w 639"/>
                <a:gd name="T51" fmla="*/ 96 h 58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39"/>
                <a:gd name="T79" fmla="*/ 0 h 583"/>
                <a:gd name="T80" fmla="*/ 639 w 639"/>
                <a:gd name="T81" fmla="*/ 583 h 583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39" h="583">
                  <a:moveTo>
                    <a:pt x="4" y="386"/>
                  </a:moveTo>
                  <a:lnTo>
                    <a:pt x="88" y="441"/>
                  </a:lnTo>
                  <a:lnTo>
                    <a:pt x="71" y="455"/>
                  </a:lnTo>
                  <a:lnTo>
                    <a:pt x="106" y="512"/>
                  </a:lnTo>
                  <a:lnTo>
                    <a:pt x="194" y="507"/>
                  </a:lnTo>
                  <a:lnTo>
                    <a:pt x="263" y="583"/>
                  </a:lnTo>
                  <a:lnTo>
                    <a:pt x="411" y="549"/>
                  </a:lnTo>
                  <a:lnTo>
                    <a:pt x="443" y="549"/>
                  </a:lnTo>
                  <a:lnTo>
                    <a:pt x="424" y="493"/>
                  </a:lnTo>
                  <a:lnTo>
                    <a:pt x="459" y="476"/>
                  </a:lnTo>
                  <a:lnTo>
                    <a:pt x="491" y="415"/>
                  </a:lnTo>
                  <a:lnTo>
                    <a:pt x="478" y="378"/>
                  </a:lnTo>
                  <a:lnTo>
                    <a:pt x="555" y="298"/>
                  </a:lnTo>
                  <a:lnTo>
                    <a:pt x="555" y="248"/>
                  </a:lnTo>
                  <a:lnTo>
                    <a:pt x="637" y="269"/>
                  </a:lnTo>
                  <a:lnTo>
                    <a:pt x="639" y="207"/>
                  </a:lnTo>
                  <a:lnTo>
                    <a:pt x="628" y="19"/>
                  </a:lnTo>
                  <a:lnTo>
                    <a:pt x="516" y="73"/>
                  </a:lnTo>
                  <a:lnTo>
                    <a:pt x="411" y="0"/>
                  </a:lnTo>
                  <a:lnTo>
                    <a:pt x="334" y="40"/>
                  </a:lnTo>
                  <a:lnTo>
                    <a:pt x="19" y="211"/>
                  </a:lnTo>
                  <a:lnTo>
                    <a:pt x="52" y="255"/>
                  </a:lnTo>
                  <a:lnTo>
                    <a:pt x="8" y="299"/>
                  </a:lnTo>
                  <a:lnTo>
                    <a:pt x="25" y="355"/>
                  </a:lnTo>
                  <a:lnTo>
                    <a:pt x="0" y="374"/>
                  </a:lnTo>
                  <a:lnTo>
                    <a:pt x="4" y="386"/>
                  </a:lnTo>
                  <a:close/>
                </a:path>
              </a:pathLst>
            </a:custGeom>
            <a:solidFill>
              <a:srgbClr val="99DFB9"/>
            </a:solidFill>
            <a:ln w="9525">
              <a:solidFill>
                <a:srgbClr val="99DFB9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anchor="ctr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FFFFFF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79" name="Freeform 68"/>
            <p:cNvSpPr>
              <a:spLocks/>
            </p:cNvSpPr>
            <p:nvPr/>
          </p:nvSpPr>
          <p:spPr bwMode="gray">
            <a:xfrm>
              <a:off x="2967527" y="4042364"/>
              <a:ext cx="610808" cy="557212"/>
            </a:xfrm>
            <a:custGeom>
              <a:avLst/>
              <a:gdLst>
                <a:gd name="T0" fmla="*/ 0 w 795"/>
                <a:gd name="T1" fmla="*/ 53333 h 700"/>
                <a:gd name="T2" fmla="*/ 9988 w 795"/>
                <a:gd name="T3" fmla="*/ 40597 h 700"/>
                <a:gd name="T4" fmla="*/ 26891 w 795"/>
                <a:gd name="T5" fmla="*/ 49353 h 700"/>
                <a:gd name="T6" fmla="*/ 35342 w 795"/>
                <a:gd name="T7" fmla="*/ 47761 h 700"/>
                <a:gd name="T8" fmla="*/ 38416 w 795"/>
                <a:gd name="T9" fmla="*/ 38209 h 700"/>
                <a:gd name="T10" fmla="*/ 49172 w 795"/>
                <a:gd name="T11" fmla="*/ 46169 h 700"/>
                <a:gd name="T12" fmla="*/ 67611 w 795"/>
                <a:gd name="T13" fmla="*/ 42189 h 700"/>
                <a:gd name="T14" fmla="*/ 65307 w 795"/>
                <a:gd name="T15" fmla="*/ 17512 h 700"/>
                <a:gd name="T16" fmla="*/ 59928 w 795"/>
                <a:gd name="T17" fmla="*/ 11144 h 700"/>
                <a:gd name="T18" fmla="*/ 69916 w 795"/>
                <a:gd name="T19" fmla="*/ 0 h 700"/>
                <a:gd name="T20" fmla="*/ 76831 w 795"/>
                <a:gd name="T21" fmla="*/ 7960 h 700"/>
                <a:gd name="T22" fmla="*/ 75295 w 795"/>
                <a:gd name="T23" fmla="*/ 20696 h 700"/>
                <a:gd name="T24" fmla="*/ 82978 w 795"/>
                <a:gd name="T25" fmla="*/ 17512 h 700"/>
                <a:gd name="T26" fmla="*/ 95271 w 795"/>
                <a:gd name="T27" fmla="*/ 27065 h 700"/>
                <a:gd name="T28" fmla="*/ 102186 w 795"/>
                <a:gd name="T29" fmla="*/ 16716 h 700"/>
                <a:gd name="T30" fmla="*/ 107564 w 795"/>
                <a:gd name="T31" fmla="*/ 15124 h 700"/>
                <a:gd name="T32" fmla="*/ 112174 w 795"/>
                <a:gd name="T33" fmla="*/ 23881 h 700"/>
                <a:gd name="T34" fmla="*/ 119088 w 795"/>
                <a:gd name="T35" fmla="*/ 15920 h 700"/>
                <a:gd name="T36" fmla="*/ 132918 w 795"/>
                <a:gd name="T37" fmla="*/ 24677 h 700"/>
                <a:gd name="T38" fmla="*/ 140601 w 795"/>
                <a:gd name="T39" fmla="*/ 36617 h 700"/>
                <a:gd name="T40" fmla="*/ 139064 w 795"/>
                <a:gd name="T41" fmla="*/ 47761 h 700"/>
                <a:gd name="T42" fmla="*/ 152126 w 795"/>
                <a:gd name="T43" fmla="*/ 61293 h 700"/>
                <a:gd name="T44" fmla="*/ 142906 w 795"/>
                <a:gd name="T45" fmla="*/ 74030 h 700"/>
                <a:gd name="T46" fmla="*/ 133686 w 795"/>
                <a:gd name="T47" fmla="*/ 81990 h 700"/>
                <a:gd name="T48" fmla="*/ 132150 w 795"/>
                <a:gd name="T49" fmla="*/ 106666 h 700"/>
                <a:gd name="T50" fmla="*/ 118320 w 795"/>
                <a:gd name="T51" fmla="*/ 105870 h 700"/>
                <a:gd name="T52" fmla="*/ 112942 w 795"/>
                <a:gd name="T53" fmla="*/ 116219 h 700"/>
                <a:gd name="T54" fmla="*/ 116015 w 795"/>
                <a:gd name="T55" fmla="*/ 120199 h 700"/>
                <a:gd name="T56" fmla="*/ 105259 w 795"/>
                <a:gd name="T57" fmla="*/ 128159 h 700"/>
                <a:gd name="T58" fmla="*/ 94502 w 795"/>
                <a:gd name="T59" fmla="*/ 135323 h 700"/>
                <a:gd name="T60" fmla="*/ 93734 w 795"/>
                <a:gd name="T61" fmla="*/ 140099 h 700"/>
                <a:gd name="T62" fmla="*/ 83746 w 795"/>
                <a:gd name="T63" fmla="*/ 135323 h 700"/>
                <a:gd name="T64" fmla="*/ 81441 w 795"/>
                <a:gd name="T65" fmla="*/ 125771 h 700"/>
                <a:gd name="T66" fmla="*/ 80673 w 795"/>
                <a:gd name="T67" fmla="*/ 122587 h 700"/>
                <a:gd name="T68" fmla="*/ 80673 w 795"/>
                <a:gd name="T69" fmla="*/ 121791 h 700"/>
                <a:gd name="T70" fmla="*/ 90661 w 795"/>
                <a:gd name="T71" fmla="*/ 113830 h 700"/>
                <a:gd name="T72" fmla="*/ 85283 w 795"/>
                <a:gd name="T73" fmla="*/ 101890 h 700"/>
                <a:gd name="T74" fmla="*/ 67611 w 795"/>
                <a:gd name="T75" fmla="*/ 92338 h 700"/>
                <a:gd name="T76" fmla="*/ 63002 w 795"/>
                <a:gd name="T77" fmla="*/ 81194 h 700"/>
                <a:gd name="T78" fmla="*/ 50709 w 795"/>
                <a:gd name="T79" fmla="*/ 80398 h 700"/>
                <a:gd name="T80" fmla="*/ 49940 w 795"/>
                <a:gd name="T81" fmla="*/ 70050 h 700"/>
                <a:gd name="T82" fmla="*/ 40721 w 795"/>
                <a:gd name="T83" fmla="*/ 70846 h 700"/>
                <a:gd name="T84" fmla="*/ 29964 w 795"/>
                <a:gd name="T85" fmla="*/ 85970 h 700"/>
                <a:gd name="T86" fmla="*/ 9988 w 795"/>
                <a:gd name="T87" fmla="*/ 76418 h 700"/>
                <a:gd name="T88" fmla="*/ 17671 w 795"/>
                <a:gd name="T89" fmla="*/ 62089 h 700"/>
                <a:gd name="T90" fmla="*/ 0 w 795"/>
                <a:gd name="T91" fmla="*/ 53333 h 70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95"/>
                <a:gd name="T139" fmla="*/ 0 h 700"/>
                <a:gd name="T140" fmla="*/ 795 w 795"/>
                <a:gd name="T141" fmla="*/ 700 h 70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95" h="700">
                  <a:moveTo>
                    <a:pt x="0" y="268"/>
                  </a:moveTo>
                  <a:lnTo>
                    <a:pt x="54" y="203"/>
                  </a:lnTo>
                  <a:lnTo>
                    <a:pt x="142" y="245"/>
                  </a:lnTo>
                  <a:lnTo>
                    <a:pt x="184" y="239"/>
                  </a:lnTo>
                  <a:lnTo>
                    <a:pt x="203" y="191"/>
                  </a:lnTo>
                  <a:lnTo>
                    <a:pt x="257" y="232"/>
                  </a:lnTo>
                  <a:lnTo>
                    <a:pt x="353" y="211"/>
                  </a:lnTo>
                  <a:lnTo>
                    <a:pt x="342" y="86"/>
                  </a:lnTo>
                  <a:lnTo>
                    <a:pt x="315" y="55"/>
                  </a:lnTo>
                  <a:lnTo>
                    <a:pt x="365" y="0"/>
                  </a:lnTo>
                  <a:lnTo>
                    <a:pt x="403" y="40"/>
                  </a:lnTo>
                  <a:lnTo>
                    <a:pt x="395" y="101"/>
                  </a:lnTo>
                  <a:lnTo>
                    <a:pt x="432" y="86"/>
                  </a:lnTo>
                  <a:lnTo>
                    <a:pt x="499" y="136"/>
                  </a:lnTo>
                  <a:lnTo>
                    <a:pt x="534" y="84"/>
                  </a:lnTo>
                  <a:lnTo>
                    <a:pt x="560" y="76"/>
                  </a:lnTo>
                  <a:lnTo>
                    <a:pt x="587" y="120"/>
                  </a:lnTo>
                  <a:lnTo>
                    <a:pt x="622" y="80"/>
                  </a:lnTo>
                  <a:lnTo>
                    <a:pt x="693" y="124"/>
                  </a:lnTo>
                  <a:lnTo>
                    <a:pt x="733" y="184"/>
                  </a:lnTo>
                  <a:lnTo>
                    <a:pt x="724" y="239"/>
                  </a:lnTo>
                  <a:lnTo>
                    <a:pt x="795" y="305"/>
                  </a:lnTo>
                  <a:lnTo>
                    <a:pt x="745" y="370"/>
                  </a:lnTo>
                  <a:lnTo>
                    <a:pt x="697" y="408"/>
                  </a:lnTo>
                  <a:lnTo>
                    <a:pt x="689" y="535"/>
                  </a:lnTo>
                  <a:lnTo>
                    <a:pt x="618" y="531"/>
                  </a:lnTo>
                  <a:lnTo>
                    <a:pt x="591" y="581"/>
                  </a:lnTo>
                  <a:lnTo>
                    <a:pt x="606" y="602"/>
                  </a:lnTo>
                  <a:lnTo>
                    <a:pt x="549" y="642"/>
                  </a:lnTo>
                  <a:lnTo>
                    <a:pt x="495" y="679"/>
                  </a:lnTo>
                  <a:lnTo>
                    <a:pt x="491" y="700"/>
                  </a:lnTo>
                  <a:lnTo>
                    <a:pt x="439" y="679"/>
                  </a:lnTo>
                  <a:lnTo>
                    <a:pt x="424" y="631"/>
                  </a:lnTo>
                  <a:lnTo>
                    <a:pt x="420" y="614"/>
                  </a:lnTo>
                  <a:lnTo>
                    <a:pt x="420" y="608"/>
                  </a:lnTo>
                  <a:lnTo>
                    <a:pt x="474" y="570"/>
                  </a:lnTo>
                  <a:lnTo>
                    <a:pt x="447" y="510"/>
                  </a:lnTo>
                  <a:lnTo>
                    <a:pt x="353" y="462"/>
                  </a:lnTo>
                  <a:lnTo>
                    <a:pt x="330" y="405"/>
                  </a:lnTo>
                  <a:lnTo>
                    <a:pt x="267" y="401"/>
                  </a:lnTo>
                  <a:lnTo>
                    <a:pt x="263" y="349"/>
                  </a:lnTo>
                  <a:lnTo>
                    <a:pt x="213" y="355"/>
                  </a:lnTo>
                  <a:lnTo>
                    <a:pt x="159" y="429"/>
                  </a:lnTo>
                  <a:lnTo>
                    <a:pt x="52" y="383"/>
                  </a:lnTo>
                  <a:lnTo>
                    <a:pt x="94" y="312"/>
                  </a:lnTo>
                  <a:lnTo>
                    <a:pt x="0" y="268"/>
                  </a:lnTo>
                  <a:close/>
                </a:path>
              </a:pathLst>
            </a:custGeom>
            <a:solidFill>
              <a:srgbClr val="CEA09D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80" name="Freeform 70"/>
            <p:cNvSpPr>
              <a:spLocks/>
            </p:cNvSpPr>
            <p:nvPr/>
          </p:nvSpPr>
          <p:spPr bwMode="gray">
            <a:xfrm>
              <a:off x="2682892" y="4318589"/>
              <a:ext cx="649272" cy="419100"/>
            </a:xfrm>
            <a:custGeom>
              <a:avLst/>
              <a:gdLst>
                <a:gd name="T0" fmla="*/ 0 w 845"/>
                <a:gd name="T1" fmla="*/ 84931 h 528"/>
                <a:gd name="T2" fmla="*/ 3073 w 845"/>
                <a:gd name="T3" fmla="*/ 75406 h 528"/>
                <a:gd name="T4" fmla="*/ 13062 w 845"/>
                <a:gd name="T5" fmla="*/ 68262 h 528"/>
                <a:gd name="T6" fmla="*/ 7684 w 845"/>
                <a:gd name="T7" fmla="*/ 55562 h 528"/>
                <a:gd name="T8" fmla="*/ 10757 w 845"/>
                <a:gd name="T9" fmla="*/ 42069 h 528"/>
                <a:gd name="T10" fmla="*/ 20746 w 845"/>
                <a:gd name="T11" fmla="*/ 48419 h 528"/>
                <a:gd name="T12" fmla="*/ 39187 w 845"/>
                <a:gd name="T13" fmla="*/ 37306 h 528"/>
                <a:gd name="T14" fmla="*/ 50712 w 845"/>
                <a:gd name="T15" fmla="*/ 37306 h 528"/>
                <a:gd name="T16" fmla="*/ 51481 w 845"/>
                <a:gd name="T17" fmla="*/ 18256 h 528"/>
                <a:gd name="T18" fmla="*/ 66080 w 845"/>
                <a:gd name="T19" fmla="*/ 19844 h 528"/>
                <a:gd name="T20" fmla="*/ 70690 w 845"/>
                <a:gd name="T21" fmla="*/ 10319 h 528"/>
                <a:gd name="T22" fmla="*/ 79910 w 845"/>
                <a:gd name="T23" fmla="*/ 7144 h 528"/>
                <a:gd name="T24" fmla="*/ 101425 w 845"/>
                <a:gd name="T25" fmla="*/ 15875 h 528"/>
                <a:gd name="T26" fmla="*/ 111414 w 845"/>
                <a:gd name="T27" fmla="*/ 1588 h 528"/>
                <a:gd name="T28" fmla="*/ 121402 w 845"/>
                <a:gd name="T29" fmla="*/ 0 h 528"/>
                <a:gd name="T30" fmla="*/ 122939 w 845"/>
                <a:gd name="T31" fmla="*/ 9525 h 528"/>
                <a:gd name="T32" fmla="*/ 134465 w 845"/>
                <a:gd name="T33" fmla="*/ 11112 h 528"/>
                <a:gd name="T34" fmla="*/ 138306 w 845"/>
                <a:gd name="T35" fmla="*/ 21431 h 528"/>
                <a:gd name="T36" fmla="*/ 156747 w 845"/>
                <a:gd name="T37" fmla="*/ 31750 h 528"/>
                <a:gd name="T38" fmla="*/ 162126 w 845"/>
                <a:gd name="T39" fmla="*/ 43656 h 528"/>
                <a:gd name="T40" fmla="*/ 152137 w 845"/>
                <a:gd name="T41" fmla="*/ 52388 h 528"/>
                <a:gd name="T42" fmla="*/ 151369 w 845"/>
                <a:gd name="T43" fmla="*/ 53181 h 528"/>
                <a:gd name="T44" fmla="*/ 152137 w 845"/>
                <a:gd name="T45" fmla="*/ 56356 h 528"/>
                <a:gd name="T46" fmla="*/ 133696 w 845"/>
                <a:gd name="T47" fmla="*/ 61912 h 528"/>
                <a:gd name="T48" fmla="*/ 94509 w 845"/>
                <a:gd name="T49" fmla="*/ 96837 h 528"/>
                <a:gd name="T50" fmla="*/ 86826 w 845"/>
                <a:gd name="T51" fmla="*/ 94456 h 528"/>
                <a:gd name="T52" fmla="*/ 68385 w 845"/>
                <a:gd name="T53" fmla="*/ 104775 h 528"/>
                <a:gd name="T54" fmla="*/ 34577 w 845"/>
                <a:gd name="T55" fmla="*/ 88900 h 528"/>
                <a:gd name="T56" fmla="*/ 32272 w 845"/>
                <a:gd name="T57" fmla="*/ 80962 h 528"/>
                <a:gd name="T58" fmla="*/ 20746 w 845"/>
                <a:gd name="T59" fmla="*/ 98425 h 528"/>
                <a:gd name="T60" fmla="*/ 14599 w 845"/>
                <a:gd name="T61" fmla="*/ 88900 h 528"/>
                <a:gd name="T62" fmla="*/ 7684 w 845"/>
                <a:gd name="T63" fmla="*/ 94456 h 528"/>
                <a:gd name="T64" fmla="*/ 0 w 845"/>
                <a:gd name="T65" fmla="*/ 85725 h 528"/>
                <a:gd name="T66" fmla="*/ 0 w 845"/>
                <a:gd name="T67" fmla="*/ 84931 h 5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845"/>
                <a:gd name="T103" fmla="*/ 0 h 528"/>
                <a:gd name="T104" fmla="*/ 845 w 845"/>
                <a:gd name="T105" fmla="*/ 528 h 5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845" h="528">
                  <a:moveTo>
                    <a:pt x="0" y="430"/>
                  </a:moveTo>
                  <a:lnTo>
                    <a:pt x="18" y="380"/>
                  </a:lnTo>
                  <a:lnTo>
                    <a:pt x="68" y="347"/>
                  </a:lnTo>
                  <a:lnTo>
                    <a:pt x="43" y="280"/>
                  </a:lnTo>
                  <a:lnTo>
                    <a:pt x="58" y="213"/>
                  </a:lnTo>
                  <a:lnTo>
                    <a:pt x="110" y="246"/>
                  </a:lnTo>
                  <a:lnTo>
                    <a:pt x="204" y="190"/>
                  </a:lnTo>
                  <a:lnTo>
                    <a:pt x="265" y="190"/>
                  </a:lnTo>
                  <a:lnTo>
                    <a:pt x="269" y="92"/>
                  </a:lnTo>
                  <a:lnTo>
                    <a:pt x="346" y="102"/>
                  </a:lnTo>
                  <a:lnTo>
                    <a:pt x="369" y="54"/>
                  </a:lnTo>
                  <a:lnTo>
                    <a:pt x="419" y="36"/>
                  </a:lnTo>
                  <a:lnTo>
                    <a:pt x="528" y="82"/>
                  </a:lnTo>
                  <a:lnTo>
                    <a:pt x="582" y="10"/>
                  </a:lnTo>
                  <a:lnTo>
                    <a:pt x="632" y="0"/>
                  </a:lnTo>
                  <a:lnTo>
                    <a:pt x="640" y="50"/>
                  </a:lnTo>
                  <a:lnTo>
                    <a:pt x="701" y="59"/>
                  </a:lnTo>
                  <a:lnTo>
                    <a:pt x="720" y="111"/>
                  </a:lnTo>
                  <a:lnTo>
                    <a:pt x="818" y="163"/>
                  </a:lnTo>
                  <a:lnTo>
                    <a:pt x="845" y="223"/>
                  </a:lnTo>
                  <a:lnTo>
                    <a:pt x="793" y="263"/>
                  </a:lnTo>
                  <a:lnTo>
                    <a:pt x="791" y="269"/>
                  </a:lnTo>
                  <a:lnTo>
                    <a:pt x="795" y="286"/>
                  </a:lnTo>
                  <a:lnTo>
                    <a:pt x="697" y="313"/>
                  </a:lnTo>
                  <a:lnTo>
                    <a:pt x="494" y="489"/>
                  </a:lnTo>
                  <a:lnTo>
                    <a:pt x="452" y="476"/>
                  </a:lnTo>
                  <a:lnTo>
                    <a:pt x="359" y="528"/>
                  </a:lnTo>
                  <a:lnTo>
                    <a:pt x="181" y="449"/>
                  </a:lnTo>
                  <a:lnTo>
                    <a:pt x="169" y="411"/>
                  </a:lnTo>
                  <a:lnTo>
                    <a:pt x="110" y="497"/>
                  </a:lnTo>
                  <a:lnTo>
                    <a:pt x="77" y="451"/>
                  </a:lnTo>
                  <a:lnTo>
                    <a:pt x="41" y="476"/>
                  </a:lnTo>
                  <a:lnTo>
                    <a:pt x="0" y="432"/>
                  </a:lnTo>
                  <a:lnTo>
                    <a:pt x="0" y="430"/>
                  </a:lnTo>
                  <a:close/>
                </a:path>
              </a:pathLst>
            </a:custGeom>
            <a:solidFill>
              <a:srgbClr val="CEA09D"/>
            </a:solidFill>
            <a:ln w="9525">
              <a:solidFill>
                <a:srgbClr val="CEA09D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81" name="Freeform 71"/>
            <p:cNvSpPr>
              <a:spLocks/>
            </p:cNvSpPr>
            <p:nvPr/>
          </p:nvSpPr>
          <p:spPr bwMode="gray">
            <a:xfrm>
              <a:off x="2898290" y="3508966"/>
              <a:ext cx="533880" cy="376237"/>
            </a:xfrm>
            <a:custGeom>
              <a:avLst/>
              <a:gdLst>
                <a:gd name="T0" fmla="*/ 0 w 695"/>
                <a:gd name="T1" fmla="*/ 16669 h 474"/>
                <a:gd name="T2" fmla="*/ 1536 w 695"/>
                <a:gd name="T3" fmla="*/ 10319 h 474"/>
                <a:gd name="T4" fmla="*/ 25350 w 695"/>
                <a:gd name="T5" fmla="*/ 0 h 474"/>
                <a:gd name="T6" fmla="*/ 38409 w 695"/>
                <a:gd name="T7" fmla="*/ 0 h 474"/>
                <a:gd name="T8" fmla="*/ 49931 w 695"/>
                <a:gd name="T9" fmla="*/ 11906 h 474"/>
                <a:gd name="T10" fmla="*/ 56077 w 695"/>
                <a:gd name="T11" fmla="*/ 5556 h 474"/>
                <a:gd name="T12" fmla="*/ 76817 w 695"/>
                <a:gd name="T13" fmla="*/ 9525 h 474"/>
                <a:gd name="T14" fmla="*/ 92949 w 695"/>
                <a:gd name="T15" fmla="*/ 11906 h 474"/>
                <a:gd name="T16" fmla="*/ 102167 w 695"/>
                <a:gd name="T17" fmla="*/ 4762 h 474"/>
                <a:gd name="T18" fmla="*/ 119067 w 695"/>
                <a:gd name="T19" fmla="*/ 7144 h 474"/>
                <a:gd name="T20" fmla="*/ 119067 w 695"/>
                <a:gd name="T21" fmla="*/ 20637 h 474"/>
                <a:gd name="T22" fmla="*/ 132894 w 695"/>
                <a:gd name="T23" fmla="*/ 26194 h 474"/>
                <a:gd name="T24" fmla="*/ 129053 w 695"/>
                <a:gd name="T25" fmla="*/ 42069 h 474"/>
                <a:gd name="T26" fmla="*/ 122139 w 695"/>
                <a:gd name="T27" fmla="*/ 38894 h 474"/>
                <a:gd name="T28" fmla="*/ 122908 w 695"/>
                <a:gd name="T29" fmla="*/ 53975 h 474"/>
                <a:gd name="T30" fmla="*/ 114458 w 695"/>
                <a:gd name="T31" fmla="*/ 55562 h 474"/>
                <a:gd name="T32" fmla="*/ 115226 w 695"/>
                <a:gd name="T33" fmla="*/ 62706 h 474"/>
                <a:gd name="T34" fmla="*/ 108312 w 695"/>
                <a:gd name="T35" fmla="*/ 63500 h 474"/>
                <a:gd name="T36" fmla="*/ 101399 w 695"/>
                <a:gd name="T37" fmla="*/ 76200 h 474"/>
                <a:gd name="T38" fmla="*/ 89876 w 695"/>
                <a:gd name="T39" fmla="*/ 76994 h 474"/>
                <a:gd name="T40" fmla="*/ 73745 w 695"/>
                <a:gd name="T41" fmla="*/ 94456 h 474"/>
                <a:gd name="T42" fmla="*/ 53004 w 695"/>
                <a:gd name="T43" fmla="*/ 75406 h 474"/>
                <a:gd name="T44" fmla="*/ 36872 w 695"/>
                <a:gd name="T45" fmla="*/ 85725 h 474"/>
                <a:gd name="T46" fmla="*/ 26118 w 695"/>
                <a:gd name="T47" fmla="*/ 63500 h 474"/>
                <a:gd name="T48" fmla="*/ 19204 w 695"/>
                <a:gd name="T49" fmla="*/ 45244 h 474"/>
                <a:gd name="T50" fmla="*/ 25350 w 695"/>
                <a:gd name="T51" fmla="*/ 44450 h 474"/>
                <a:gd name="T52" fmla="*/ 12291 w 695"/>
                <a:gd name="T53" fmla="*/ 21431 h 474"/>
                <a:gd name="T54" fmla="*/ 0 w 695"/>
                <a:gd name="T55" fmla="*/ 19050 h 474"/>
                <a:gd name="T56" fmla="*/ 0 w 695"/>
                <a:gd name="T57" fmla="*/ 16669 h 47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695"/>
                <a:gd name="T88" fmla="*/ 0 h 474"/>
                <a:gd name="T89" fmla="*/ 695 w 695"/>
                <a:gd name="T90" fmla="*/ 474 h 47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695" h="474">
                  <a:moveTo>
                    <a:pt x="2" y="84"/>
                  </a:moveTo>
                  <a:lnTo>
                    <a:pt x="11" y="52"/>
                  </a:lnTo>
                  <a:lnTo>
                    <a:pt x="134" y="0"/>
                  </a:lnTo>
                  <a:lnTo>
                    <a:pt x="203" y="0"/>
                  </a:lnTo>
                  <a:lnTo>
                    <a:pt x="263" y="59"/>
                  </a:lnTo>
                  <a:lnTo>
                    <a:pt x="295" y="29"/>
                  </a:lnTo>
                  <a:lnTo>
                    <a:pt x="401" y="48"/>
                  </a:lnTo>
                  <a:lnTo>
                    <a:pt x="485" y="59"/>
                  </a:lnTo>
                  <a:lnTo>
                    <a:pt x="535" y="21"/>
                  </a:lnTo>
                  <a:lnTo>
                    <a:pt x="622" y="36"/>
                  </a:lnTo>
                  <a:lnTo>
                    <a:pt x="622" y="102"/>
                  </a:lnTo>
                  <a:lnTo>
                    <a:pt x="695" y="132"/>
                  </a:lnTo>
                  <a:lnTo>
                    <a:pt x="675" y="211"/>
                  </a:lnTo>
                  <a:lnTo>
                    <a:pt x="637" y="196"/>
                  </a:lnTo>
                  <a:lnTo>
                    <a:pt x="641" y="269"/>
                  </a:lnTo>
                  <a:lnTo>
                    <a:pt x="599" y="280"/>
                  </a:lnTo>
                  <a:lnTo>
                    <a:pt x="602" y="315"/>
                  </a:lnTo>
                  <a:lnTo>
                    <a:pt x="566" y="320"/>
                  </a:lnTo>
                  <a:lnTo>
                    <a:pt x="531" y="382"/>
                  </a:lnTo>
                  <a:lnTo>
                    <a:pt x="470" y="388"/>
                  </a:lnTo>
                  <a:lnTo>
                    <a:pt x="387" y="474"/>
                  </a:lnTo>
                  <a:lnTo>
                    <a:pt x="278" y="380"/>
                  </a:lnTo>
                  <a:lnTo>
                    <a:pt x="195" y="432"/>
                  </a:lnTo>
                  <a:lnTo>
                    <a:pt x="138" y="318"/>
                  </a:lnTo>
                  <a:lnTo>
                    <a:pt x="101" y="226"/>
                  </a:lnTo>
                  <a:lnTo>
                    <a:pt x="132" y="224"/>
                  </a:lnTo>
                  <a:lnTo>
                    <a:pt x="67" y="107"/>
                  </a:lnTo>
                  <a:lnTo>
                    <a:pt x="0" y="94"/>
                  </a:lnTo>
                  <a:lnTo>
                    <a:pt x="2" y="84"/>
                  </a:lnTo>
                  <a:close/>
                </a:path>
              </a:pathLst>
            </a:custGeom>
            <a:solidFill>
              <a:srgbClr val="B1726B"/>
            </a:solidFill>
            <a:ln w="9525">
              <a:solidFill>
                <a:srgbClr val="B1726B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82" name="Freeform 72"/>
            <p:cNvSpPr>
              <a:spLocks/>
            </p:cNvSpPr>
            <p:nvPr/>
          </p:nvSpPr>
          <p:spPr bwMode="gray">
            <a:xfrm>
              <a:off x="2092085" y="3720104"/>
              <a:ext cx="472338" cy="454025"/>
            </a:xfrm>
            <a:custGeom>
              <a:avLst/>
              <a:gdLst>
                <a:gd name="T0" fmla="*/ 769 w 614"/>
                <a:gd name="T1" fmla="*/ 65087 h 572"/>
                <a:gd name="T2" fmla="*/ 9231 w 614"/>
                <a:gd name="T3" fmla="*/ 61119 h 572"/>
                <a:gd name="T4" fmla="*/ 45388 w 614"/>
                <a:gd name="T5" fmla="*/ 20637 h 572"/>
                <a:gd name="T6" fmla="*/ 46157 w 614"/>
                <a:gd name="T7" fmla="*/ 794 h 572"/>
                <a:gd name="T8" fmla="*/ 63081 w 614"/>
                <a:gd name="T9" fmla="*/ 0 h 572"/>
                <a:gd name="T10" fmla="*/ 76159 w 614"/>
                <a:gd name="T11" fmla="*/ 15081 h 572"/>
                <a:gd name="T12" fmla="*/ 105391 w 614"/>
                <a:gd name="T13" fmla="*/ 7937 h 572"/>
                <a:gd name="T14" fmla="*/ 105391 w 614"/>
                <a:gd name="T15" fmla="*/ 11906 h 572"/>
                <a:gd name="T16" fmla="*/ 114623 w 614"/>
                <a:gd name="T17" fmla="*/ 34131 h 572"/>
                <a:gd name="T18" fmla="*/ 110007 w 614"/>
                <a:gd name="T19" fmla="*/ 47625 h 572"/>
                <a:gd name="T20" fmla="*/ 118469 w 614"/>
                <a:gd name="T21" fmla="*/ 57944 h 572"/>
                <a:gd name="T22" fmla="*/ 83852 w 614"/>
                <a:gd name="T23" fmla="*/ 75406 h 572"/>
                <a:gd name="T24" fmla="*/ 83082 w 614"/>
                <a:gd name="T25" fmla="*/ 78581 h 572"/>
                <a:gd name="T26" fmla="*/ 85390 w 614"/>
                <a:gd name="T27" fmla="*/ 96044 h 572"/>
                <a:gd name="T28" fmla="*/ 62312 w 614"/>
                <a:gd name="T29" fmla="*/ 105569 h 572"/>
                <a:gd name="T30" fmla="*/ 56927 w 614"/>
                <a:gd name="T31" fmla="*/ 100806 h 572"/>
                <a:gd name="T32" fmla="*/ 53850 w 614"/>
                <a:gd name="T33" fmla="*/ 111125 h 572"/>
                <a:gd name="T34" fmla="*/ 46157 w 614"/>
                <a:gd name="T35" fmla="*/ 103188 h 572"/>
                <a:gd name="T36" fmla="*/ 34618 w 614"/>
                <a:gd name="T37" fmla="*/ 113506 h 572"/>
                <a:gd name="T38" fmla="*/ 28463 w 614"/>
                <a:gd name="T39" fmla="*/ 109538 h 572"/>
                <a:gd name="T40" fmla="*/ 29233 w 614"/>
                <a:gd name="T41" fmla="*/ 101600 h 572"/>
                <a:gd name="T42" fmla="*/ 20001 w 614"/>
                <a:gd name="T43" fmla="*/ 103981 h 572"/>
                <a:gd name="T44" fmla="*/ 8462 w 614"/>
                <a:gd name="T45" fmla="*/ 93662 h 572"/>
                <a:gd name="T46" fmla="*/ 13847 w 614"/>
                <a:gd name="T47" fmla="*/ 87312 h 572"/>
                <a:gd name="T48" fmla="*/ 7693 w 614"/>
                <a:gd name="T49" fmla="*/ 88900 h 572"/>
                <a:gd name="T50" fmla="*/ 0 w 614"/>
                <a:gd name="T51" fmla="*/ 65881 h 572"/>
                <a:gd name="T52" fmla="*/ 769 w 614"/>
                <a:gd name="T53" fmla="*/ 65087 h 57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14"/>
                <a:gd name="T82" fmla="*/ 0 h 572"/>
                <a:gd name="T83" fmla="*/ 614 w 614"/>
                <a:gd name="T84" fmla="*/ 572 h 572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14" h="572">
                  <a:moveTo>
                    <a:pt x="4" y="328"/>
                  </a:moveTo>
                  <a:lnTo>
                    <a:pt x="48" y="311"/>
                  </a:lnTo>
                  <a:lnTo>
                    <a:pt x="236" y="105"/>
                  </a:lnTo>
                  <a:lnTo>
                    <a:pt x="242" y="5"/>
                  </a:lnTo>
                  <a:lnTo>
                    <a:pt x="330" y="0"/>
                  </a:lnTo>
                  <a:lnTo>
                    <a:pt x="399" y="76"/>
                  </a:lnTo>
                  <a:lnTo>
                    <a:pt x="547" y="42"/>
                  </a:lnTo>
                  <a:lnTo>
                    <a:pt x="547" y="63"/>
                  </a:lnTo>
                  <a:lnTo>
                    <a:pt x="595" y="172"/>
                  </a:lnTo>
                  <a:lnTo>
                    <a:pt x="572" y="240"/>
                  </a:lnTo>
                  <a:lnTo>
                    <a:pt x="614" y="293"/>
                  </a:lnTo>
                  <a:lnTo>
                    <a:pt x="439" y="382"/>
                  </a:lnTo>
                  <a:lnTo>
                    <a:pt x="433" y="399"/>
                  </a:lnTo>
                  <a:lnTo>
                    <a:pt x="445" y="487"/>
                  </a:lnTo>
                  <a:lnTo>
                    <a:pt x="324" y="531"/>
                  </a:lnTo>
                  <a:lnTo>
                    <a:pt x="293" y="508"/>
                  </a:lnTo>
                  <a:lnTo>
                    <a:pt x="278" y="558"/>
                  </a:lnTo>
                  <a:lnTo>
                    <a:pt x="243" y="520"/>
                  </a:lnTo>
                  <a:lnTo>
                    <a:pt x="182" y="572"/>
                  </a:lnTo>
                  <a:lnTo>
                    <a:pt x="146" y="549"/>
                  </a:lnTo>
                  <a:lnTo>
                    <a:pt x="149" y="512"/>
                  </a:lnTo>
                  <a:lnTo>
                    <a:pt x="107" y="524"/>
                  </a:lnTo>
                  <a:lnTo>
                    <a:pt x="46" y="472"/>
                  </a:lnTo>
                  <a:lnTo>
                    <a:pt x="71" y="441"/>
                  </a:lnTo>
                  <a:lnTo>
                    <a:pt x="38" y="449"/>
                  </a:lnTo>
                  <a:lnTo>
                    <a:pt x="0" y="332"/>
                  </a:lnTo>
                  <a:lnTo>
                    <a:pt x="4" y="328"/>
                  </a:lnTo>
                  <a:close/>
                </a:path>
              </a:pathLst>
            </a:custGeom>
            <a:solidFill>
              <a:srgbClr val="99DFB9"/>
            </a:solidFill>
            <a:ln w="9525">
              <a:solidFill>
                <a:srgbClr val="99DFB9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83" name="Freeform 73"/>
            <p:cNvSpPr>
              <a:spLocks/>
            </p:cNvSpPr>
            <p:nvPr/>
          </p:nvSpPr>
          <p:spPr bwMode="gray">
            <a:xfrm>
              <a:off x="2858289" y="3762964"/>
              <a:ext cx="390794" cy="474662"/>
            </a:xfrm>
            <a:custGeom>
              <a:avLst/>
              <a:gdLst>
                <a:gd name="T0" fmla="*/ 768 w 509"/>
                <a:gd name="T1" fmla="*/ 42791 h 599"/>
                <a:gd name="T2" fmla="*/ 10749 w 509"/>
                <a:gd name="T3" fmla="*/ 11886 h 599"/>
                <a:gd name="T4" fmla="*/ 19194 w 509"/>
                <a:gd name="T5" fmla="*/ 14264 h 599"/>
                <a:gd name="T6" fmla="*/ 23801 w 509"/>
                <a:gd name="T7" fmla="*/ 3962 h 599"/>
                <a:gd name="T8" fmla="*/ 36085 w 509"/>
                <a:gd name="T9" fmla="*/ 0 h 599"/>
                <a:gd name="T10" fmla="*/ 46834 w 509"/>
                <a:gd name="T11" fmla="*/ 22188 h 599"/>
                <a:gd name="T12" fmla="*/ 62957 w 509"/>
                <a:gd name="T13" fmla="*/ 11886 h 599"/>
                <a:gd name="T14" fmla="*/ 83687 w 509"/>
                <a:gd name="T15" fmla="*/ 30905 h 599"/>
                <a:gd name="T16" fmla="*/ 84455 w 509"/>
                <a:gd name="T17" fmla="*/ 36452 h 599"/>
                <a:gd name="T18" fmla="*/ 92900 w 509"/>
                <a:gd name="T19" fmla="*/ 56262 h 599"/>
                <a:gd name="T20" fmla="*/ 97507 w 509"/>
                <a:gd name="T21" fmla="*/ 70526 h 599"/>
                <a:gd name="T22" fmla="*/ 86758 w 509"/>
                <a:gd name="T23" fmla="*/ 80827 h 599"/>
                <a:gd name="T24" fmla="*/ 92900 w 509"/>
                <a:gd name="T25" fmla="*/ 87167 h 599"/>
                <a:gd name="T26" fmla="*/ 94435 w 509"/>
                <a:gd name="T27" fmla="*/ 111732 h 599"/>
                <a:gd name="T28" fmla="*/ 76777 w 509"/>
                <a:gd name="T29" fmla="*/ 115694 h 599"/>
                <a:gd name="T30" fmla="*/ 66028 w 509"/>
                <a:gd name="T31" fmla="*/ 108562 h 599"/>
                <a:gd name="T32" fmla="*/ 62189 w 509"/>
                <a:gd name="T33" fmla="*/ 117279 h 599"/>
                <a:gd name="T34" fmla="*/ 53744 w 509"/>
                <a:gd name="T35" fmla="*/ 118071 h 599"/>
                <a:gd name="T36" fmla="*/ 37621 w 509"/>
                <a:gd name="T37" fmla="*/ 110147 h 599"/>
                <a:gd name="T38" fmla="*/ 20730 w 509"/>
                <a:gd name="T39" fmla="*/ 107770 h 599"/>
                <a:gd name="T40" fmla="*/ 22265 w 509"/>
                <a:gd name="T41" fmla="*/ 102223 h 599"/>
                <a:gd name="T42" fmla="*/ 12284 w 509"/>
                <a:gd name="T43" fmla="*/ 98261 h 599"/>
                <a:gd name="T44" fmla="*/ 14588 w 509"/>
                <a:gd name="T45" fmla="*/ 73695 h 599"/>
                <a:gd name="T46" fmla="*/ 0 w 509"/>
                <a:gd name="T47" fmla="*/ 44376 h 599"/>
                <a:gd name="T48" fmla="*/ 768 w 509"/>
                <a:gd name="T49" fmla="*/ 42791 h 59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09"/>
                <a:gd name="T76" fmla="*/ 0 h 599"/>
                <a:gd name="T77" fmla="*/ 509 w 509"/>
                <a:gd name="T78" fmla="*/ 599 h 59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09" h="599">
                  <a:moveTo>
                    <a:pt x="4" y="217"/>
                  </a:moveTo>
                  <a:lnTo>
                    <a:pt x="59" y="60"/>
                  </a:lnTo>
                  <a:lnTo>
                    <a:pt x="102" y="73"/>
                  </a:lnTo>
                  <a:lnTo>
                    <a:pt x="127" y="22"/>
                  </a:lnTo>
                  <a:lnTo>
                    <a:pt x="190" y="0"/>
                  </a:lnTo>
                  <a:lnTo>
                    <a:pt x="246" y="114"/>
                  </a:lnTo>
                  <a:lnTo>
                    <a:pt x="330" y="62"/>
                  </a:lnTo>
                  <a:lnTo>
                    <a:pt x="439" y="156"/>
                  </a:lnTo>
                  <a:lnTo>
                    <a:pt x="441" y="187"/>
                  </a:lnTo>
                  <a:lnTo>
                    <a:pt x="484" y="286"/>
                  </a:lnTo>
                  <a:lnTo>
                    <a:pt x="509" y="357"/>
                  </a:lnTo>
                  <a:lnTo>
                    <a:pt x="453" y="409"/>
                  </a:lnTo>
                  <a:lnTo>
                    <a:pt x="484" y="442"/>
                  </a:lnTo>
                  <a:lnTo>
                    <a:pt x="495" y="565"/>
                  </a:lnTo>
                  <a:lnTo>
                    <a:pt x="403" y="586"/>
                  </a:lnTo>
                  <a:lnTo>
                    <a:pt x="345" y="549"/>
                  </a:lnTo>
                  <a:lnTo>
                    <a:pt x="324" y="593"/>
                  </a:lnTo>
                  <a:lnTo>
                    <a:pt x="282" y="599"/>
                  </a:lnTo>
                  <a:lnTo>
                    <a:pt x="196" y="557"/>
                  </a:lnTo>
                  <a:lnTo>
                    <a:pt x="109" y="544"/>
                  </a:lnTo>
                  <a:lnTo>
                    <a:pt x="119" y="517"/>
                  </a:lnTo>
                  <a:lnTo>
                    <a:pt x="67" y="496"/>
                  </a:lnTo>
                  <a:lnTo>
                    <a:pt x="79" y="373"/>
                  </a:lnTo>
                  <a:lnTo>
                    <a:pt x="0" y="227"/>
                  </a:lnTo>
                  <a:lnTo>
                    <a:pt x="4" y="217"/>
                  </a:lnTo>
                  <a:close/>
                </a:path>
              </a:pathLst>
            </a:custGeom>
            <a:solidFill>
              <a:srgbClr val="CEA09D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84" name="Freeform 75"/>
            <p:cNvSpPr>
              <a:spLocks/>
            </p:cNvSpPr>
            <p:nvPr/>
          </p:nvSpPr>
          <p:spPr bwMode="gray">
            <a:xfrm>
              <a:off x="1992079" y="4070939"/>
              <a:ext cx="478492" cy="342900"/>
            </a:xfrm>
            <a:custGeom>
              <a:avLst/>
              <a:gdLst>
                <a:gd name="T0" fmla="*/ 0 w 624"/>
                <a:gd name="T1" fmla="*/ 40295 h 434"/>
                <a:gd name="T2" fmla="*/ 5368 w 624"/>
                <a:gd name="T3" fmla="*/ 32394 h 434"/>
                <a:gd name="T4" fmla="*/ 13803 w 624"/>
                <a:gd name="T5" fmla="*/ 34764 h 434"/>
                <a:gd name="T6" fmla="*/ 11502 w 624"/>
                <a:gd name="T7" fmla="*/ 28443 h 434"/>
                <a:gd name="T8" fmla="*/ 20704 w 624"/>
                <a:gd name="T9" fmla="*/ 15012 h 434"/>
                <a:gd name="T10" fmla="*/ 13803 w 624"/>
                <a:gd name="T11" fmla="*/ 9481 h 434"/>
                <a:gd name="T12" fmla="*/ 15336 w 624"/>
                <a:gd name="T13" fmla="*/ 1580 h 434"/>
                <a:gd name="T14" fmla="*/ 32206 w 624"/>
                <a:gd name="T15" fmla="*/ 1580 h 434"/>
                <a:gd name="T16" fmla="*/ 38341 w 624"/>
                <a:gd name="T17" fmla="*/ 0 h 434"/>
                <a:gd name="T18" fmla="*/ 33740 w 624"/>
                <a:gd name="T19" fmla="*/ 5531 h 434"/>
                <a:gd name="T20" fmla="*/ 46009 w 624"/>
                <a:gd name="T21" fmla="*/ 15802 h 434"/>
                <a:gd name="T22" fmla="*/ 53677 w 624"/>
                <a:gd name="T23" fmla="*/ 13432 h 434"/>
                <a:gd name="T24" fmla="*/ 52910 w 624"/>
                <a:gd name="T25" fmla="*/ 21332 h 434"/>
                <a:gd name="T26" fmla="*/ 59812 w 624"/>
                <a:gd name="T27" fmla="*/ 25283 h 434"/>
                <a:gd name="T28" fmla="*/ 70547 w 624"/>
                <a:gd name="T29" fmla="*/ 15012 h 434"/>
                <a:gd name="T30" fmla="*/ 77448 w 624"/>
                <a:gd name="T31" fmla="*/ 22913 h 434"/>
                <a:gd name="T32" fmla="*/ 81282 w 624"/>
                <a:gd name="T33" fmla="*/ 12641 h 434"/>
                <a:gd name="T34" fmla="*/ 86650 w 624"/>
                <a:gd name="T35" fmla="*/ 17382 h 434"/>
                <a:gd name="T36" fmla="*/ 110421 w 624"/>
                <a:gd name="T37" fmla="*/ 8691 h 434"/>
                <a:gd name="T38" fmla="*/ 108888 w 624"/>
                <a:gd name="T39" fmla="*/ 15012 h 434"/>
                <a:gd name="T40" fmla="*/ 118089 w 624"/>
                <a:gd name="T41" fmla="*/ 17382 h 434"/>
                <a:gd name="T42" fmla="*/ 110421 w 624"/>
                <a:gd name="T43" fmla="*/ 26073 h 434"/>
                <a:gd name="T44" fmla="*/ 118856 w 624"/>
                <a:gd name="T45" fmla="*/ 33184 h 434"/>
                <a:gd name="T46" fmla="*/ 112722 w 624"/>
                <a:gd name="T47" fmla="*/ 33184 h 434"/>
                <a:gd name="T48" fmla="*/ 99686 w 624"/>
                <a:gd name="T49" fmla="*/ 41875 h 434"/>
                <a:gd name="T50" fmla="*/ 88184 w 624"/>
                <a:gd name="T51" fmla="*/ 39505 h 434"/>
                <a:gd name="T52" fmla="*/ 92784 w 624"/>
                <a:gd name="T53" fmla="*/ 48196 h 434"/>
                <a:gd name="T54" fmla="*/ 84350 w 624"/>
                <a:gd name="T55" fmla="*/ 60047 h 434"/>
                <a:gd name="T56" fmla="*/ 75915 w 624"/>
                <a:gd name="T57" fmla="*/ 60837 h 434"/>
                <a:gd name="T58" fmla="*/ 76681 w 624"/>
                <a:gd name="T59" fmla="*/ 62417 h 434"/>
                <a:gd name="T60" fmla="*/ 78215 w 624"/>
                <a:gd name="T61" fmla="*/ 66368 h 434"/>
                <a:gd name="T62" fmla="*/ 59045 w 624"/>
                <a:gd name="T63" fmla="*/ 69528 h 434"/>
                <a:gd name="T64" fmla="*/ 52910 w 624"/>
                <a:gd name="T65" fmla="*/ 75059 h 434"/>
                <a:gd name="T66" fmla="*/ 59045 w 624"/>
                <a:gd name="T67" fmla="*/ 79009 h 434"/>
                <a:gd name="T68" fmla="*/ 45242 w 624"/>
                <a:gd name="T69" fmla="*/ 85330 h 434"/>
                <a:gd name="T70" fmla="*/ 38341 w 624"/>
                <a:gd name="T71" fmla="*/ 78219 h 434"/>
                <a:gd name="T72" fmla="*/ 18404 w 624"/>
                <a:gd name="T73" fmla="*/ 82170 h 434"/>
                <a:gd name="T74" fmla="*/ 13803 w 624"/>
                <a:gd name="T75" fmla="*/ 82170 h 434"/>
                <a:gd name="T76" fmla="*/ 13036 w 624"/>
                <a:gd name="T77" fmla="*/ 64788 h 434"/>
                <a:gd name="T78" fmla="*/ 767 w 624"/>
                <a:gd name="T79" fmla="*/ 60047 h 434"/>
                <a:gd name="T80" fmla="*/ 12269 w 624"/>
                <a:gd name="T81" fmla="*/ 46615 h 434"/>
                <a:gd name="T82" fmla="*/ 0 w 624"/>
                <a:gd name="T83" fmla="*/ 42665 h 434"/>
                <a:gd name="T84" fmla="*/ 0 w 624"/>
                <a:gd name="T85" fmla="*/ 40295 h 43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24"/>
                <a:gd name="T130" fmla="*/ 0 h 434"/>
                <a:gd name="T131" fmla="*/ 624 w 624"/>
                <a:gd name="T132" fmla="*/ 434 h 43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24" h="434">
                  <a:moveTo>
                    <a:pt x="2" y="204"/>
                  </a:moveTo>
                  <a:lnTo>
                    <a:pt x="29" y="167"/>
                  </a:lnTo>
                  <a:lnTo>
                    <a:pt x="73" y="177"/>
                  </a:lnTo>
                  <a:lnTo>
                    <a:pt x="60" y="144"/>
                  </a:lnTo>
                  <a:lnTo>
                    <a:pt x="110" y="79"/>
                  </a:lnTo>
                  <a:lnTo>
                    <a:pt x="73" y="48"/>
                  </a:lnTo>
                  <a:lnTo>
                    <a:pt x="83" y="8"/>
                  </a:lnTo>
                  <a:lnTo>
                    <a:pt x="169" y="8"/>
                  </a:lnTo>
                  <a:lnTo>
                    <a:pt x="202" y="0"/>
                  </a:lnTo>
                  <a:lnTo>
                    <a:pt x="177" y="31"/>
                  </a:lnTo>
                  <a:lnTo>
                    <a:pt x="240" y="83"/>
                  </a:lnTo>
                  <a:lnTo>
                    <a:pt x="282" y="69"/>
                  </a:lnTo>
                  <a:lnTo>
                    <a:pt x="278" y="110"/>
                  </a:lnTo>
                  <a:lnTo>
                    <a:pt x="315" y="131"/>
                  </a:lnTo>
                  <a:lnTo>
                    <a:pt x="371" y="79"/>
                  </a:lnTo>
                  <a:lnTo>
                    <a:pt x="407" y="117"/>
                  </a:lnTo>
                  <a:lnTo>
                    <a:pt x="426" y="67"/>
                  </a:lnTo>
                  <a:lnTo>
                    <a:pt x="455" y="88"/>
                  </a:lnTo>
                  <a:lnTo>
                    <a:pt x="578" y="46"/>
                  </a:lnTo>
                  <a:lnTo>
                    <a:pt x="572" y="79"/>
                  </a:lnTo>
                  <a:lnTo>
                    <a:pt x="620" y="90"/>
                  </a:lnTo>
                  <a:lnTo>
                    <a:pt x="578" y="134"/>
                  </a:lnTo>
                  <a:lnTo>
                    <a:pt x="624" y="171"/>
                  </a:lnTo>
                  <a:lnTo>
                    <a:pt x="591" y="169"/>
                  </a:lnTo>
                  <a:lnTo>
                    <a:pt x="524" y="215"/>
                  </a:lnTo>
                  <a:lnTo>
                    <a:pt x="463" y="200"/>
                  </a:lnTo>
                  <a:lnTo>
                    <a:pt x="486" y="246"/>
                  </a:lnTo>
                  <a:lnTo>
                    <a:pt x="444" y="307"/>
                  </a:lnTo>
                  <a:lnTo>
                    <a:pt x="399" y="309"/>
                  </a:lnTo>
                  <a:lnTo>
                    <a:pt x="401" y="317"/>
                  </a:lnTo>
                  <a:lnTo>
                    <a:pt x="411" y="338"/>
                  </a:lnTo>
                  <a:lnTo>
                    <a:pt x="311" y="353"/>
                  </a:lnTo>
                  <a:lnTo>
                    <a:pt x="277" y="382"/>
                  </a:lnTo>
                  <a:lnTo>
                    <a:pt x="309" y="403"/>
                  </a:lnTo>
                  <a:lnTo>
                    <a:pt x="236" y="434"/>
                  </a:lnTo>
                  <a:lnTo>
                    <a:pt x="202" y="397"/>
                  </a:lnTo>
                  <a:lnTo>
                    <a:pt x="98" y="417"/>
                  </a:lnTo>
                  <a:lnTo>
                    <a:pt x="75" y="417"/>
                  </a:lnTo>
                  <a:lnTo>
                    <a:pt x="71" y="330"/>
                  </a:lnTo>
                  <a:lnTo>
                    <a:pt x="4" y="307"/>
                  </a:lnTo>
                  <a:lnTo>
                    <a:pt x="67" y="240"/>
                  </a:lnTo>
                  <a:lnTo>
                    <a:pt x="0" y="219"/>
                  </a:lnTo>
                  <a:lnTo>
                    <a:pt x="2" y="204"/>
                  </a:lnTo>
                  <a:close/>
                </a:path>
              </a:pathLst>
            </a:custGeom>
            <a:solidFill>
              <a:srgbClr val="99DFB9"/>
            </a:solidFill>
            <a:ln w="9525">
              <a:solidFill>
                <a:srgbClr val="99DFB9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85" name="Freeform 90"/>
            <p:cNvSpPr>
              <a:spLocks/>
            </p:cNvSpPr>
            <p:nvPr/>
          </p:nvSpPr>
          <p:spPr bwMode="gray">
            <a:xfrm>
              <a:off x="2268623" y="2933522"/>
              <a:ext cx="455365" cy="442672"/>
            </a:xfrm>
            <a:custGeom>
              <a:avLst/>
              <a:gdLst>
                <a:gd name="T0" fmla="*/ 1 w 591"/>
                <a:gd name="T1" fmla="*/ 43 h 558"/>
                <a:gd name="T2" fmla="*/ 14 w 591"/>
                <a:gd name="T3" fmla="*/ 54 h 558"/>
                <a:gd name="T4" fmla="*/ 22 w 591"/>
                <a:gd name="T5" fmla="*/ 81 h 558"/>
                <a:gd name="T6" fmla="*/ 14 w 591"/>
                <a:gd name="T7" fmla="*/ 89 h 558"/>
                <a:gd name="T8" fmla="*/ 29 w 591"/>
                <a:gd name="T9" fmla="*/ 92 h 558"/>
                <a:gd name="T10" fmla="*/ 28 w 591"/>
                <a:gd name="T11" fmla="*/ 105 h 558"/>
                <a:gd name="T12" fmla="*/ 45 w 591"/>
                <a:gd name="T13" fmla="*/ 103 h 558"/>
                <a:gd name="T14" fmla="*/ 59 w 591"/>
                <a:gd name="T15" fmla="*/ 115 h 558"/>
                <a:gd name="T16" fmla="*/ 60 w 591"/>
                <a:gd name="T17" fmla="*/ 132 h 558"/>
                <a:gd name="T18" fmla="*/ 79 w 591"/>
                <a:gd name="T19" fmla="*/ 120 h 558"/>
                <a:gd name="T20" fmla="*/ 105 w 591"/>
                <a:gd name="T21" fmla="*/ 140 h 558"/>
                <a:gd name="T22" fmla="*/ 133 w 591"/>
                <a:gd name="T23" fmla="*/ 126 h 558"/>
                <a:gd name="T24" fmla="*/ 120 w 591"/>
                <a:gd name="T25" fmla="*/ 110 h 558"/>
                <a:gd name="T26" fmla="*/ 122 w 591"/>
                <a:gd name="T27" fmla="*/ 108 h 558"/>
                <a:gd name="T28" fmla="*/ 148 w 591"/>
                <a:gd name="T29" fmla="*/ 84 h 558"/>
                <a:gd name="T30" fmla="*/ 142 w 591"/>
                <a:gd name="T31" fmla="*/ 57 h 558"/>
                <a:gd name="T32" fmla="*/ 133 w 591"/>
                <a:gd name="T33" fmla="*/ 33 h 558"/>
                <a:gd name="T34" fmla="*/ 112 w 591"/>
                <a:gd name="T35" fmla="*/ 21 h 558"/>
                <a:gd name="T36" fmla="*/ 109 w 591"/>
                <a:gd name="T37" fmla="*/ 6 h 558"/>
                <a:gd name="T38" fmla="*/ 95 w 591"/>
                <a:gd name="T39" fmla="*/ 6 h 558"/>
                <a:gd name="T40" fmla="*/ 51 w 591"/>
                <a:gd name="T41" fmla="*/ 0 h 558"/>
                <a:gd name="T42" fmla="*/ 42 w 591"/>
                <a:gd name="T43" fmla="*/ 11 h 558"/>
                <a:gd name="T44" fmla="*/ 18 w 591"/>
                <a:gd name="T45" fmla="*/ 4 h 558"/>
                <a:gd name="T46" fmla="*/ 6 w 591"/>
                <a:gd name="T47" fmla="*/ 17 h 558"/>
                <a:gd name="T48" fmla="*/ 8 w 591"/>
                <a:gd name="T49" fmla="*/ 30 h 558"/>
                <a:gd name="T50" fmla="*/ 0 w 591"/>
                <a:gd name="T51" fmla="*/ 40 h 558"/>
                <a:gd name="T52" fmla="*/ 1 w 591"/>
                <a:gd name="T53" fmla="*/ 43 h 558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591"/>
                <a:gd name="T82" fmla="*/ 0 h 558"/>
                <a:gd name="T83" fmla="*/ 591 w 591"/>
                <a:gd name="T84" fmla="*/ 558 h 558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591" h="558">
                  <a:moveTo>
                    <a:pt x="4" y="174"/>
                  </a:moveTo>
                  <a:lnTo>
                    <a:pt x="54" y="216"/>
                  </a:lnTo>
                  <a:lnTo>
                    <a:pt x="88" y="324"/>
                  </a:lnTo>
                  <a:lnTo>
                    <a:pt x="54" y="356"/>
                  </a:lnTo>
                  <a:lnTo>
                    <a:pt x="115" y="368"/>
                  </a:lnTo>
                  <a:lnTo>
                    <a:pt x="109" y="422"/>
                  </a:lnTo>
                  <a:lnTo>
                    <a:pt x="180" y="414"/>
                  </a:lnTo>
                  <a:lnTo>
                    <a:pt x="236" y="462"/>
                  </a:lnTo>
                  <a:lnTo>
                    <a:pt x="240" y="527"/>
                  </a:lnTo>
                  <a:lnTo>
                    <a:pt x="315" y="483"/>
                  </a:lnTo>
                  <a:lnTo>
                    <a:pt x="420" y="558"/>
                  </a:lnTo>
                  <a:lnTo>
                    <a:pt x="530" y="506"/>
                  </a:lnTo>
                  <a:lnTo>
                    <a:pt x="480" y="443"/>
                  </a:lnTo>
                  <a:lnTo>
                    <a:pt x="488" y="433"/>
                  </a:lnTo>
                  <a:lnTo>
                    <a:pt x="591" y="339"/>
                  </a:lnTo>
                  <a:lnTo>
                    <a:pt x="568" y="228"/>
                  </a:lnTo>
                  <a:lnTo>
                    <a:pt x="532" y="130"/>
                  </a:lnTo>
                  <a:lnTo>
                    <a:pt x="445" y="84"/>
                  </a:lnTo>
                  <a:lnTo>
                    <a:pt x="434" y="26"/>
                  </a:lnTo>
                  <a:lnTo>
                    <a:pt x="380" y="24"/>
                  </a:lnTo>
                  <a:lnTo>
                    <a:pt x="203" y="0"/>
                  </a:lnTo>
                  <a:lnTo>
                    <a:pt x="167" y="44"/>
                  </a:lnTo>
                  <a:lnTo>
                    <a:pt x="69" y="19"/>
                  </a:lnTo>
                  <a:lnTo>
                    <a:pt x="21" y="67"/>
                  </a:lnTo>
                  <a:lnTo>
                    <a:pt x="29" y="122"/>
                  </a:lnTo>
                  <a:lnTo>
                    <a:pt x="0" y="161"/>
                  </a:lnTo>
                  <a:lnTo>
                    <a:pt x="4" y="174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anchor="ctr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FFFFFF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86" name="Freeform 102"/>
            <p:cNvSpPr>
              <a:spLocks/>
            </p:cNvSpPr>
            <p:nvPr/>
          </p:nvSpPr>
          <p:spPr bwMode="gray">
            <a:xfrm>
              <a:off x="1981309" y="2955842"/>
              <a:ext cx="473435" cy="530090"/>
            </a:xfrm>
            <a:custGeom>
              <a:avLst/>
              <a:gdLst>
                <a:gd name="T0" fmla="*/ 2 w 616"/>
                <a:gd name="T1" fmla="*/ 115 h 666"/>
                <a:gd name="T2" fmla="*/ 11 w 616"/>
                <a:gd name="T3" fmla="*/ 101 h 666"/>
                <a:gd name="T4" fmla="*/ 19 w 616"/>
                <a:gd name="T5" fmla="*/ 104 h 666"/>
                <a:gd name="T6" fmla="*/ 23 w 616"/>
                <a:gd name="T7" fmla="*/ 82 h 666"/>
                <a:gd name="T8" fmla="*/ 39 w 616"/>
                <a:gd name="T9" fmla="*/ 74 h 666"/>
                <a:gd name="T10" fmla="*/ 24 w 616"/>
                <a:gd name="T11" fmla="*/ 60 h 666"/>
                <a:gd name="T12" fmla="*/ 25 w 616"/>
                <a:gd name="T13" fmla="*/ 45 h 666"/>
                <a:gd name="T14" fmla="*/ 25 w 616"/>
                <a:gd name="T15" fmla="*/ 28 h 666"/>
                <a:gd name="T16" fmla="*/ 70 w 616"/>
                <a:gd name="T17" fmla="*/ 3 h 666"/>
                <a:gd name="T18" fmla="*/ 91 w 616"/>
                <a:gd name="T19" fmla="*/ 0 h 666"/>
                <a:gd name="T20" fmla="*/ 99 w 616"/>
                <a:gd name="T21" fmla="*/ 10 h 666"/>
                <a:gd name="T22" fmla="*/ 100 w 616"/>
                <a:gd name="T23" fmla="*/ 23 h 666"/>
                <a:gd name="T24" fmla="*/ 93 w 616"/>
                <a:gd name="T25" fmla="*/ 33 h 666"/>
                <a:gd name="T26" fmla="*/ 94 w 616"/>
                <a:gd name="T27" fmla="*/ 36 h 666"/>
                <a:gd name="T28" fmla="*/ 106 w 616"/>
                <a:gd name="T29" fmla="*/ 46 h 666"/>
                <a:gd name="T30" fmla="*/ 115 w 616"/>
                <a:gd name="T31" fmla="*/ 74 h 666"/>
                <a:gd name="T32" fmla="*/ 107 w 616"/>
                <a:gd name="T33" fmla="*/ 82 h 666"/>
                <a:gd name="T34" fmla="*/ 122 w 616"/>
                <a:gd name="T35" fmla="*/ 84 h 666"/>
                <a:gd name="T36" fmla="*/ 120 w 616"/>
                <a:gd name="T37" fmla="*/ 97 h 666"/>
                <a:gd name="T38" fmla="*/ 140 w 616"/>
                <a:gd name="T39" fmla="*/ 96 h 666"/>
                <a:gd name="T40" fmla="*/ 152 w 616"/>
                <a:gd name="T41" fmla="*/ 107 h 666"/>
                <a:gd name="T42" fmla="*/ 154 w 616"/>
                <a:gd name="T43" fmla="*/ 124 h 666"/>
                <a:gd name="T44" fmla="*/ 75 w 616"/>
                <a:gd name="T45" fmla="*/ 167 h 666"/>
                <a:gd name="T46" fmla="*/ 58 w 616"/>
                <a:gd name="T47" fmla="*/ 159 h 666"/>
                <a:gd name="T48" fmla="*/ 65 w 616"/>
                <a:gd name="T49" fmla="*/ 153 h 666"/>
                <a:gd name="T50" fmla="*/ 56 w 616"/>
                <a:gd name="T51" fmla="*/ 152 h 666"/>
                <a:gd name="T52" fmla="*/ 47 w 616"/>
                <a:gd name="T53" fmla="*/ 138 h 666"/>
                <a:gd name="T54" fmla="*/ 28 w 616"/>
                <a:gd name="T55" fmla="*/ 135 h 666"/>
                <a:gd name="T56" fmla="*/ 21 w 616"/>
                <a:gd name="T57" fmla="*/ 143 h 666"/>
                <a:gd name="T58" fmla="*/ 13 w 616"/>
                <a:gd name="T59" fmla="*/ 123 h 666"/>
                <a:gd name="T60" fmla="*/ 0 w 616"/>
                <a:gd name="T61" fmla="*/ 118 h 666"/>
                <a:gd name="T62" fmla="*/ 2 w 616"/>
                <a:gd name="T63" fmla="*/ 115 h 66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16"/>
                <a:gd name="T97" fmla="*/ 0 h 666"/>
                <a:gd name="T98" fmla="*/ 616 w 616"/>
                <a:gd name="T99" fmla="*/ 666 h 66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16" h="666">
                  <a:moveTo>
                    <a:pt x="11" y="463"/>
                  </a:moveTo>
                  <a:lnTo>
                    <a:pt x="44" y="405"/>
                  </a:lnTo>
                  <a:lnTo>
                    <a:pt x="76" y="417"/>
                  </a:lnTo>
                  <a:lnTo>
                    <a:pt x="94" y="325"/>
                  </a:lnTo>
                  <a:lnTo>
                    <a:pt x="157" y="296"/>
                  </a:lnTo>
                  <a:lnTo>
                    <a:pt x="96" y="240"/>
                  </a:lnTo>
                  <a:lnTo>
                    <a:pt x="103" y="183"/>
                  </a:lnTo>
                  <a:lnTo>
                    <a:pt x="100" y="113"/>
                  </a:lnTo>
                  <a:lnTo>
                    <a:pt x="280" y="12"/>
                  </a:lnTo>
                  <a:lnTo>
                    <a:pt x="364" y="0"/>
                  </a:lnTo>
                  <a:lnTo>
                    <a:pt x="397" y="37"/>
                  </a:lnTo>
                  <a:lnTo>
                    <a:pt x="401" y="92"/>
                  </a:lnTo>
                  <a:lnTo>
                    <a:pt x="372" y="131"/>
                  </a:lnTo>
                  <a:lnTo>
                    <a:pt x="376" y="144"/>
                  </a:lnTo>
                  <a:lnTo>
                    <a:pt x="426" y="186"/>
                  </a:lnTo>
                  <a:lnTo>
                    <a:pt x="462" y="294"/>
                  </a:lnTo>
                  <a:lnTo>
                    <a:pt x="428" y="326"/>
                  </a:lnTo>
                  <a:lnTo>
                    <a:pt x="489" y="338"/>
                  </a:lnTo>
                  <a:lnTo>
                    <a:pt x="483" y="390"/>
                  </a:lnTo>
                  <a:lnTo>
                    <a:pt x="560" y="384"/>
                  </a:lnTo>
                  <a:lnTo>
                    <a:pt x="608" y="428"/>
                  </a:lnTo>
                  <a:lnTo>
                    <a:pt x="616" y="497"/>
                  </a:lnTo>
                  <a:lnTo>
                    <a:pt x="299" y="666"/>
                  </a:lnTo>
                  <a:lnTo>
                    <a:pt x="232" y="635"/>
                  </a:lnTo>
                  <a:lnTo>
                    <a:pt x="259" y="609"/>
                  </a:lnTo>
                  <a:lnTo>
                    <a:pt x="224" y="607"/>
                  </a:lnTo>
                  <a:lnTo>
                    <a:pt x="190" y="551"/>
                  </a:lnTo>
                  <a:lnTo>
                    <a:pt x="115" y="540"/>
                  </a:lnTo>
                  <a:lnTo>
                    <a:pt x="86" y="570"/>
                  </a:lnTo>
                  <a:lnTo>
                    <a:pt x="55" y="493"/>
                  </a:lnTo>
                  <a:lnTo>
                    <a:pt x="0" y="474"/>
                  </a:lnTo>
                  <a:lnTo>
                    <a:pt x="11" y="463"/>
                  </a:lnTo>
                  <a:close/>
                </a:path>
              </a:pathLst>
            </a:custGeom>
            <a:solidFill>
              <a:srgbClr val="99DFB9"/>
            </a:solidFill>
            <a:ln w="9525">
              <a:solidFill>
                <a:srgbClr val="99DFB9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anchor="ctr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FFFFFF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87" name="Oval 292"/>
            <p:cNvSpPr>
              <a:spLocks noChangeArrowheads="1"/>
            </p:cNvSpPr>
            <p:nvPr/>
          </p:nvSpPr>
          <p:spPr bwMode="auto">
            <a:xfrm>
              <a:off x="2421193" y="2274832"/>
              <a:ext cx="216000" cy="216000"/>
            </a:xfrm>
            <a:prstGeom prst="ellipse">
              <a:avLst/>
            </a:prstGeom>
            <a:solidFill>
              <a:srgbClr val="4D4D4D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r>
                <a:rPr lang="en-US" sz="1100" b="1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188" name="Oval 293"/>
            <p:cNvSpPr>
              <a:spLocks noChangeArrowheads="1"/>
            </p:cNvSpPr>
            <p:nvPr/>
          </p:nvSpPr>
          <p:spPr bwMode="auto">
            <a:xfrm>
              <a:off x="3289030" y="2278572"/>
              <a:ext cx="216000" cy="216000"/>
            </a:xfrm>
            <a:prstGeom prst="ellipse">
              <a:avLst/>
            </a:prstGeom>
            <a:solidFill>
              <a:srgbClr val="4D4D4D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r>
                <a:rPr lang="en-US" sz="1100" b="1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3</a:t>
              </a:r>
            </a:p>
          </p:txBody>
        </p:sp>
        <p:sp>
          <p:nvSpPr>
            <p:cNvPr id="189" name="Oval 294"/>
            <p:cNvSpPr>
              <a:spLocks noChangeArrowheads="1"/>
            </p:cNvSpPr>
            <p:nvPr/>
          </p:nvSpPr>
          <p:spPr bwMode="auto">
            <a:xfrm>
              <a:off x="2353364" y="3613949"/>
              <a:ext cx="216000" cy="216000"/>
            </a:xfrm>
            <a:prstGeom prst="ellipse">
              <a:avLst/>
            </a:prstGeom>
            <a:solidFill>
              <a:srgbClr val="4D4D4D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r>
                <a:rPr lang="en-US" sz="1100" b="1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2</a:t>
              </a:r>
            </a:p>
          </p:txBody>
        </p:sp>
        <p:sp>
          <p:nvSpPr>
            <p:cNvPr id="190" name="Oval 297"/>
            <p:cNvSpPr>
              <a:spLocks noChangeArrowheads="1"/>
            </p:cNvSpPr>
            <p:nvPr/>
          </p:nvSpPr>
          <p:spPr bwMode="auto">
            <a:xfrm>
              <a:off x="3003479" y="4101214"/>
              <a:ext cx="216000" cy="216000"/>
            </a:xfrm>
            <a:prstGeom prst="ellipse">
              <a:avLst/>
            </a:prstGeom>
            <a:solidFill>
              <a:srgbClr val="4D4D4D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r>
                <a:rPr lang="en-US" sz="1100" b="1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5</a:t>
              </a:r>
            </a:p>
          </p:txBody>
        </p:sp>
        <p:sp>
          <p:nvSpPr>
            <p:cNvPr id="191" name="Oval 299"/>
            <p:cNvSpPr>
              <a:spLocks noChangeArrowheads="1"/>
            </p:cNvSpPr>
            <p:nvPr/>
          </p:nvSpPr>
          <p:spPr bwMode="auto">
            <a:xfrm>
              <a:off x="3134735" y="3232203"/>
              <a:ext cx="216000" cy="216000"/>
            </a:xfrm>
            <a:prstGeom prst="ellipse">
              <a:avLst/>
            </a:prstGeom>
            <a:solidFill>
              <a:srgbClr val="4D4D4D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r>
                <a:rPr lang="it-IT" sz="1100" b="1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4</a:t>
              </a:r>
              <a:endParaRPr lang="en-US" sz="1100" b="1">
                <a:solidFill>
                  <a:srgbClr val="FFFFFF"/>
                </a:solidFill>
                <a:latin typeface="+mj-lt"/>
                <a:cs typeface="Calibri" panose="020F0502020204030204" pitchFamily="34" charset="0"/>
              </a:endParaRPr>
            </a:p>
          </p:txBody>
        </p:sp>
      </p:grpSp>
      <p:grpSp>
        <p:nvGrpSpPr>
          <p:cNvPr id="192" name="Gruppo 175"/>
          <p:cNvGrpSpPr/>
          <p:nvPr/>
        </p:nvGrpSpPr>
        <p:grpSpPr>
          <a:xfrm>
            <a:off x="7502632" y="2193541"/>
            <a:ext cx="1581206" cy="2482846"/>
            <a:chOff x="7908934" y="1504059"/>
            <a:chExt cx="1581206" cy="2482846"/>
          </a:xfrm>
        </p:grpSpPr>
        <p:sp>
          <p:nvSpPr>
            <p:cNvPr id="193" name="Freeform 31"/>
            <p:cNvSpPr>
              <a:spLocks/>
            </p:cNvSpPr>
            <p:nvPr/>
          </p:nvSpPr>
          <p:spPr bwMode="gray">
            <a:xfrm>
              <a:off x="8294754" y="1864430"/>
              <a:ext cx="415925" cy="568325"/>
            </a:xfrm>
            <a:custGeom>
              <a:avLst/>
              <a:gdLst>
                <a:gd name="T0" fmla="*/ 671 w 620"/>
                <a:gd name="T1" fmla="*/ 57581 h 838"/>
                <a:gd name="T2" fmla="*/ 4700 w 620"/>
                <a:gd name="T3" fmla="*/ 47420 h 838"/>
                <a:gd name="T4" fmla="*/ 10071 w 620"/>
                <a:gd name="T5" fmla="*/ 46742 h 838"/>
                <a:gd name="T6" fmla="*/ 13429 w 620"/>
                <a:gd name="T7" fmla="*/ 39291 h 838"/>
                <a:gd name="T8" fmla="*/ 30886 w 620"/>
                <a:gd name="T9" fmla="*/ 37936 h 838"/>
                <a:gd name="T10" fmla="*/ 26857 w 620"/>
                <a:gd name="T11" fmla="*/ 23710 h 838"/>
                <a:gd name="T12" fmla="*/ 36257 w 620"/>
                <a:gd name="T13" fmla="*/ 25065 h 838"/>
                <a:gd name="T14" fmla="*/ 38272 w 620"/>
                <a:gd name="T15" fmla="*/ 16258 h 838"/>
                <a:gd name="T16" fmla="*/ 28200 w 620"/>
                <a:gd name="T17" fmla="*/ 4742 h 838"/>
                <a:gd name="T18" fmla="*/ 38272 w 620"/>
                <a:gd name="T19" fmla="*/ 0 h 838"/>
                <a:gd name="T20" fmla="*/ 61772 w 620"/>
                <a:gd name="T21" fmla="*/ 6097 h 838"/>
                <a:gd name="T22" fmla="*/ 71843 w 620"/>
                <a:gd name="T23" fmla="*/ 16936 h 838"/>
                <a:gd name="T24" fmla="*/ 76543 w 620"/>
                <a:gd name="T25" fmla="*/ 11516 h 838"/>
                <a:gd name="T26" fmla="*/ 82586 w 620"/>
                <a:gd name="T27" fmla="*/ 16258 h 838"/>
                <a:gd name="T28" fmla="*/ 88629 w 620"/>
                <a:gd name="T29" fmla="*/ 12871 h 838"/>
                <a:gd name="T30" fmla="*/ 93329 w 620"/>
                <a:gd name="T31" fmla="*/ 23032 h 838"/>
                <a:gd name="T32" fmla="*/ 87958 w 620"/>
                <a:gd name="T33" fmla="*/ 35226 h 838"/>
                <a:gd name="T34" fmla="*/ 96686 w 620"/>
                <a:gd name="T35" fmla="*/ 44710 h 838"/>
                <a:gd name="T36" fmla="*/ 104072 w 620"/>
                <a:gd name="T37" fmla="*/ 70452 h 838"/>
                <a:gd name="T38" fmla="*/ 100043 w 620"/>
                <a:gd name="T39" fmla="*/ 98904 h 838"/>
                <a:gd name="T40" fmla="*/ 90643 w 620"/>
                <a:gd name="T41" fmla="*/ 99581 h 838"/>
                <a:gd name="T42" fmla="*/ 85272 w 620"/>
                <a:gd name="T43" fmla="*/ 106356 h 838"/>
                <a:gd name="T44" fmla="*/ 73186 w 620"/>
                <a:gd name="T45" fmla="*/ 105001 h 838"/>
                <a:gd name="T46" fmla="*/ 63115 w 620"/>
                <a:gd name="T47" fmla="*/ 114485 h 838"/>
                <a:gd name="T48" fmla="*/ 65800 w 620"/>
                <a:gd name="T49" fmla="*/ 127356 h 838"/>
                <a:gd name="T50" fmla="*/ 46329 w 620"/>
                <a:gd name="T51" fmla="*/ 130743 h 838"/>
                <a:gd name="T52" fmla="*/ 38272 w 620"/>
                <a:gd name="T53" fmla="*/ 142259 h 838"/>
                <a:gd name="T54" fmla="*/ 29543 w 620"/>
                <a:gd name="T55" fmla="*/ 141582 h 838"/>
                <a:gd name="T56" fmla="*/ 31557 w 620"/>
                <a:gd name="T57" fmla="*/ 115839 h 838"/>
                <a:gd name="T58" fmla="*/ 22829 w 620"/>
                <a:gd name="T59" fmla="*/ 104323 h 838"/>
                <a:gd name="T60" fmla="*/ 26186 w 620"/>
                <a:gd name="T61" fmla="*/ 100936 h 838"/>
                <a:gd name="T62" fmla="*/ 20814 w 620"/>
                <a:gd name="T63" fmla="*/ 93484 h 838"/>
                <a:gd name="T64" fmla="*/ 30214 w 620"/>
                <a:gd name="T65" fmla="*/ 83323 h 838"/>
                <a:gd name="T66" fmla="*/ 23500 w 620"/>
                <a:gd name="T67" fmla="*/ 81291 h 838"/>
                <a:gd name="T68" fmla="*/ 26186 w 620"/>
                <a:gd name="T69" fmla="*/ 73162 h 838"/>
                <a:gd name="T70" fmla="*/ 16786 w 620"/>
                <a:gd name="T71" fmla="*/ 58936 h 838"/>
                <a:gd name="T72" fmla="*/ 0 w 620"/>
                <a:gd name="T73" fmla="*/ 57581 h 838"/>
                <a:gd name="T74" fmla="*/ 671 w 620"/>
                <a:gd name="T75" fmla="*/ 57581 h 83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620"/>
                <a:gd name="T115" fmla="*/ 0 h 838"/>
                <a:gd name="T116" fmla="*/ 620 w 620"/>
                <a:gd name="T117" fmla="*/ 838 h 83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620" h="838">
                  <a:moveTo>
                    <a:pt x="1" y="338"/>
                  </a:moveTo>
                  <a:lnTo>
                    <a:pt x="30" y="278"/>
                  </a:lnTo>
                  <a:lnTo>
                    <a:pt x="63" y="276"/>
                  </a:lnTo>
                  <a:lnTo>
                    <a:pt x="82" y="232"/>
                  </a:lnTo>
                  <a:lnTo>
                    <a:pt x="184" y="224"/>
                  </a:lnTo>
                  <a:lnTo>
                    <a:pt x="163" y="140"/>
                  </a:lnTo>
                  <a:lnTo>
                    <a:pt x="218" y="148"/>
                  </a:lnTo>
                  <a:lnTo>
                    <a:pt x="228" y="94"/>
                  </a:lnTo>
                  <a:lnTo>
                    <a:pt x="170" y="29"/>
                  </a:lnTo>
                  <a:lnTo>
                    <a:pt x="228" y="0"/>
                  </a:lnTo>
                  <a:lnTo>
                    <a:pt x="370" y="34"/>
                  </a:lnTo>
                  <a:lnTo>
                    <a:pt x="428" y="100"/>
                  </a:lnTo>
                  <a:lnTo>
                    <a:pt x="458" y="65"/>
                  </a:lnTo>
                  <a:lnTo>
                    <a:pt x="493" y="94"/>
                  </a:lnTo>
                  <a:lnTo>
                    <a:pt x="525" y="75"/>
                  </a:lnTo>
                  <a:lnTo>
                    <a:pt x="554" y="136"/>
                  </a:lnTo>
                  <a:lnTo>
                    <a:pt x="522" y="209"/>
                  </a:lnTo>
                  <a:lnTo>
                    <a:pt x="575" y="261"/>
                  </a:lnTo>
                  <a:lnTo>
                    <a:pt x="620" y="416"/>
                  </a:lnTo>
                  <a:lnTo>
                    <a:pt x="593" y="583"/>
                  </a:lnTo>
                  <a:lnTo>
                    <a:pt x="537" y="585"/>
                  </a:lnTo>
                  <a:lnTo>
                    <a:pt x="510" y="627"/>
                  </a:lnTo>
                  <a:lnTo>
                    <a:pt x="439" y="620"/>
                  </a:lnTo>
                  <a:lnTo>
                    <a:pt x="376" y="673"/>
                  </a:lnTo>
                  <a:lnTo>
                    <a:pt x="395" y="750"/>
                  </a:lnTo>
                  <a:lnTo>
                    <a:pt x="274" y="771"/>
                  </a:lnTo>
                  <a:lnTo>
                    <a:pt x="228" y="838"/>
                  </a:lnTo>
                  <a:lnTo>
                    <a:pt x="178" y="836"/>
                  </a:lnTo>
                  <a:lnTo>
                    <a:pt x="191" y="683"/>
                  </a:lnTo>
                  <a:lnTo>
                    <a:pt x="134" y="616"/>
                  </a:lnTo>
                  <a:lnTo>
                    <a:pt x="157" y="593"/>
                  </a:lnTo>
                  <a:lnTo>
                    <a:pt x="126" y="551"/>
                  </a:lnTo>
                  <a:lnTo>
                    <a:pt x="182" y="495"/>
                  </a:lnTo>
                  <a:lnTo>
                    <a:pt x="138" y="480"/>
                  </a:lnTo>
                  <a:lnTo>
                    <a:pt x="157" y="435"/>
                  </a:lnTo>
                  <a:lnTo>
                    <a:pt x="103" y="347"/>
                  </a:lnTo>
                  <a:lnTo>
                    <a:pt x="0" y="339"/>
                  </a:lnTo>
                  <a:lnTo>
                    <a:pt x="1" y="338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94" name="Freeform 33"/>
            <p:cNvSpPr>
              <a:spLocks/>
            </p:cNvSpPr>
            <p:nvPr/>
          </p:nvSpPr>
          <p:spPr bwMode="gray">
            <a:xfrm>
              <a:off x="8002596" y="2026342"/>
              <a:ext cx="422275" cy="433388"/>
            </a:xfrm>
            <a:custGeom>
              <a:avLst/>
              <a:gdLst>
                <a:gd name="T0" fmla="*/ 0 w 629"/>
                <a:gd name="T1" fmla="*/ 59520 h 641"/>
                <a:gd name="T2" fmla="*/ 2690 w 629"/>
                <a:gd name="T3" fmla="*/ 78459 h 641"/>
                <a:gd name="T4" fmla="*/ 21520 w 629"/>
                <a:gd name="T5" fmla="*/ 89280 h 641"/>
                <a:gd name="T6" fmla="*/ 21520 w 629"/>
                <a:gd name="T7" fmla="*/ 96044 h 641"/>
                <a:gd name="T8" fmla="*/ 26227 w 629"/>
                <a:gd name="T9" fmla="*/ 97397 h 641"/>
                <a:gd name="T10" fmla="*/ 23537 w 629"/>
                <a:gd name="T11" fmla="*/ 103484 h 641"/>
                <a:gd name="T12" fmla="*/ 37660 w 629"/>
                <a:gd name="T13" fmla="*/ 101455 h 641"/>
                <a:gd name="T14" fmla="*/ 43712 w 629"/>
                <a:gd name="T15" fmla="*/ 108219 h 641"/>
                <a:gd name="T16" fmla="*/ 51110 w 629"/>
                <a:gd name="T17" fmla="*/ 99426 h 641"/>
                <a:gd name="T18" fmla="*/ 67250 w 629"/>
                <a:gd name="T19" fmla="*/ 104160 h 641"/>
                <a:gd name="T20" fmla="*/ 73302 w 629"/>
                <a:gd name="T21" fmla="*/ 96720 h 641"/>
                <a:gd name="T22" fmla="*/ 103565 w 629"/>
                <a:gd name="T23" fmla="*/ 100779 h 641"/>
                <a:gd name="T24" fmla="*/ 106255 w 629"/>
                <a:gd name="T25" fmla="*/ 75077 h 641"/>
                <a:gd name="T26" fmla="*/ 95495 w 629"/>
                <a:gd name="T27" fmla="*/ 63578 h 641"/>
                <a:gd name="T28" fmla="*/ 100202 w 629"/>
                <a:gd name="T29" fmla="*/ 60197 h 641"/>
                <a:gd name="T30" fmla="*/ 94822 w 629"/>
                <a:gd name="T31" fmla="*/ 53433 h 641"/>
                <a:gd name="T32" fmla="*/ 103565 w 629"/>
                <a:gd name="T33" fmla="*/ 43287 h 641"/>
                <a:gd name="T34" fmla="*/ 96840 w 629"/>
                <a:gd name="T35" fmla="*/ 40582 h 641"/>
                <a:gd name="T36" fmla="*/ 99530 w 629"/>
                <a:gd name="T37" fmla="*/ 33142 h 641"/>
                <a:gd name="T38" fmla="*/ 90787 w 629"/>
                <a:gd name="T39" fmla="*/ 18262 h 641"/>
                <a:gd name="T40" fmla="*/ 73302 w 629"/>
                <a:gd name="T41" fmla="*/ 16909 h 641"/>
                <a:gd name="T42" fmla="*/ 78682 w 629"/>
                <a:gd name="T43" fmla="*/ 6764 h 641"/>
                <a:gd name="T44" fmla="*/ 59180 w 629"/>
                <a:gd name="T45" fmla="*/ 0 h 641"/>
                <a:gd name="T46" fmla="*/ 37660 w 629"/>
                <a:gd name="T47" fmla="*/ 9469 h 641"/>
                <a:gd name="T48" fmla="*/ 39677 w 629"/>
                <a:gd name="T49" fmla="*/ 18938 h 641"/>
                <a:gd name="T50" fmla="*/ 31607 w 629"/>
                <a:gd name="T51" fmla="*/ 29084 h 641"/>
                <a:gd name="T52" fmla="*/ 23537 w 629"/>
                <a:gd name="T53" fmla="*/ 26378 h 641"/>
                <a:gd name="T54" fmla="*/ 15467 w 629"/>
                <a:gd name="T55" fmla="*/ 31113 h 641"/>
                <a:gd name="T56" fmla="*/ 10760 w 629"/>
                <a:gd name="T57" fmla="*/ 58844 h 641"/>
                <a:gd name="T58" fmla="*/ 0 w 629"/>
                <a:gd name="T59" fmla="*/ 59520 h 64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29"/>
                <a:gd name="T91" fmla="*/ 0 h 641"/>
                <a:gd name="T92" fmla="*/ 629 w 629"/>
                <a:gd name="T93" fmla="*/ 641 h 64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29" h="641">
                  <a:moveTo>
                    <a:pt x="0" y="355"/>
                  </a:moveTo>
                  <a:lnTo>
                    <a:pt x="13" y="464"/>
                  </a:lnTo>
                  <a:lnTo>
                    <a:pt x="128" y="529"/>
                  </a:lnTo>
                  <a:lnTo>
                    <a:pt x="128" y="568"/>
                  </a:lnTo>
                  <a:lnTo>
                    <a:pt x="155" y="579"/>
                  </a:lnTo>
                  <a:lnTo>
                    <a:pt x="140" y="614"/>
                  </a:lnTo>
                  <a:lnTo>
                    <a:pt x="224" y="602"/>
                  </a:lnTo>
                  <a:lnTo>
                    <a:pt x="259" y="641"/>
                  </a:lnTo>
                  <a:lnTo>
                    <a:pt x="301" y="591"/>
                  </a:lnTo>
                  <a:lnTo>
                    <a:pt x="397" y="618"/>
                  </a:lnTo>
                  <a:lnTo>
                    <a:pt x="436" y="574"/>
                  </a:lnTo>
                  <a:lnTo>
                    <a:pt x="614" y="598"/>
                  </a:lnTo>
                  <a:lnTo>
                    <a:pt x="629" y="445"/>
                  </a:lnTo>
                  <a:lnTo>
                    <a:pt x="568" y="378"/>
                  </a:lnTo>
                  <a:lnTo>
                    <a:pt x="595" y="359"/>
                  </a:lnTo>
                  <a:lnTo>
                    <a:pt x="564" y="316"/>
                  </a:lnTo>
                  <a:lnTo>
                    <a:pt x="614" y="257"/>
                  </a:lnTo>
                  <a:lnTo>
                    <a:pt x="576" y="240"/>
                  </a:lnTo>
                  <a:lnTo>
                    <a:pt x="591" y="197"/>
                  </a:lnTo>
                  <a:lnTo>
                    <a:pt x="537" y="109"/>
                  </a:lnTo>
                  <a:lnTo>
                    <a:pt x="434" y="101"/>
                  </a:lnTo>
                  <a:lnTo>
                    <a:pt x="466" y="42"/>
                  </a:lnTo>
                  <a:lnTo>
                    <a:pt x="351" y="0"/>
                  </a:lnTo>
                  <a:lnTo>
                    <a:pt x="224" y="59"/>
                  </a:lnTo>
                  <a:lnTo>
                    <a:pt x="236" y="113"/>
                  </a:lnTo>
                  <a:lnTo>
                    <a:pt x="186" y="172"/>
                  </a:lnTo>
                  <a:lnTo>
                    <a:pt x="140" y="159"/>
                  </a:lnTo>
                  <a:lnTo>
                    <a:pt x="92" y="184"/>
                  </a:lnTo>
                  <a:lnTo>
                    <a:pt x="61" y="349"/>
                  </a:lnTo>
                  <a:lnTo>
                    <a:pt x="0" y="355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95" name="Freeform 225"/>
            <p:cNvSpPr>
              <a:spLocks/>
            </p:cNvSpPr>
            <p:nvPr/>
          </p:nvSpPr>
          <p:spPr bwMode="gray">
            <a:xfrm>
              <a:off x="7926454" y="1616769"/>
              <a:ext cx="522287" cy="449263"/>
            </a:xfrm>
            <a:custGeom>
              <a:avLst/>
              <a:gdLst>
                <a:gd name="T0" fmla="*/ 1345 w 777"/>
                <a:gd name="T1" fmla="*/ 51484 h 662"/>
                <a:gd name="T2" fmla="*/ 21514 w 777"/>
                <a:gd name="T3" fmla="*/ 52839 h 662"/>
                <a:gd name="T4" fmla="*/ 22186 w 777"/>
                <a:gd name="T5" fmla="*/ 61645 h 662"/>
                <a:gd name="T6" fmla="*/ 25547 w 777"/>
                <a:gd name="T7" fmla="*/ 58936 h 662"/>
                <a:gd name="T8" fmla="*/ 34959 w 777"/>
                <a:gd name="T9" fmla="*/ 62323 h 662"/>
                <a:gd name="T10" fmla="*/ 42355 w 777"/>
                <a:gd name="T11" fmla="*/ 81291 h 662"/>
                <a:gd name="T12" fmla="*/ 39666 w 777"/>
                <a:gd name="T13" fmla="*/ 99581 h 662"/>
                <a:gd name="T14" fmla="*/ 49750 w 777"/>
                <a:gd name="T15" fmla="*/ 100259 h 662"/>
                <a:gd name="T16" fmla="*/ 57145 w 777"/>
                <a:gd name="T17" fmla="*/ 112452 h 662"/>
                <a:gd name="T18" fmla="*/ 78659 w 777"/>
                <a:gd name="T19" fmla="*/ 102968 h 662"/>
                <a:gd name="T20" fmla="*/ 96811 w 777"/>
                <a:gd name="T21" fmla="*/ 109743 h 662"/>
                <a:gd name="T22" fmla="*/ 103534 w 777"/>
                <a:gd name="T23" fmla="*/ 109743 h 662"/>
                <a:gd name="T24" fmla="*/ 106223 w 777"/>
                <a:gd name="T25" fmla="*/ 101613 h 662"/>
                <a:gd name="T26" fmla="*/ 123703 w 777"/>
                <a:gd name="T27" fmla="*/ 100259 h 662"/>
                <a:gd name="T28" fmla="*/ 120341 w 777"/>
                <a:gd name="T29" fmla="*/ 85355 h 662"/>
                <a:gd name="T30" fmla="*/ 129081 w 777"/>
                <a:gd name="T31" fmla="*/ 88065 h 662"/>
                <a:gd name="T32" fmla="*/ 131098 w 777"/>
                <a:gd name="T33" fmla="*/ 77904 h 662"/>
                <a:gd name="T34" fmla="*/ 121014 w 777"/>
                <a:gd name="T35" fmla="*/ 67065 h 662"/>
                <a:gd name="T36" fmla="*/ 131098 w 777"/>
                <a:gd name="T37" fmla="*/ 61645 h 662"/>
                <a:gd name="T38" fmla="*/ 127736 w 777"/>
                <a:gd name="T39" fmla="*/ 56226 h 662"/>
                <a:gd name="T40" fmla="*/ 116980 w 777"/>
                <a:gd name="T41" fmla="*/ 54871 h 662"/>
                <a:gd name="T42" fmla="*/ 100172 w 777"/>
                <a:gd name="T43" fmla="*/ 54194 h 662"/>
                <a:gd name="T44" fmla="*/ 94794 w 777"/>
                <a:gd name="T45" fmla="*/ 59613 h 662"/>
                <a:gd name="T46" fmla="*/ 89416 w 777"/>
                <a:gd name="T47" fmla="*/ 48774 h 662"/>
                <a:gd name="T48" fmla="*/ 82693 w 777"/>
                <a:gd name="T49" fmla="*/ 45387 h 662"/>
                <a:gd name="T50" fmla="*/ 78659 w 777"/>
                <a:gd name="T51" fmla="*/ 49452 h 662"/>
                <a:gd name="T52" fmla="*/ 75297 w 777"/>
                <a:gd name="T53" fmla="*/ 35903 h 662"/>
                <a:gd name="T54" fmla="*/ 80676 w 777"/>
                <a:gd name="T55" fmla="*/ 29807 h 662"/>
                <a:gd name="T56" fmla="*/ 74625 w 777"/>
                <a:gd name="T57" fmla="*/ 18290 h 662"/>
                <a:gd name="T58" fmla="*/ 67902 w 777"/>
                <a:gd name="T59" fmla="*/ 14903 h 662"/>
                <a:gd name="T60" fmla="*/ 62524 w 777"/>
                <a:gd name="T61" fmla="*/ 21000 h 662"/>
                <a:gd name="T62" fmla="*/ 49750 w 777"/>
                <a:gd name="T63" fmla="*/ 18968 h 662"/>
                <a:gd name="T64" fmla="*/ 42355 w 777"/>
                <a:gd name="T65" fmla="*/ 6774 h 662"/>
                <a:gd name="T66" fmla="*/ 34959 w 777"/>
                <a:gd name="T67" fmla="*/ 4742 h 662"/>
                <a:gd name="T68" fmla="*/ 36304 w 777"/>
                <a:gd name="T69" fmla="*/ 0 h 662"/>
                <a:gd name="T70" fmla="*/ 20841 w 777"/>
                <a:gd name="T71" fmla="*/ 3387 h 662"/>
                <a:gd name="T72" fmla="*/ 17480 w 777"/>
                <a:gd name="T73" fmla="*/ 7452 h 662"/>
                <a:gd name="T74" fmla="*/ 19497 w 777"/>
                <a:gd name="T75" fmla="*/ 27774 h 662"/>
                <a:gd name="T76" fmla="*/ 14118 w 777"/>
                <a:gd name="T77" fmla="*/ 27097 h 662"/>
                <a:gd name="T78" fmla="*/ 14791 w 777"/>
                <a:gd name="T79" fmla="*/ 33194 h 662"/>
                <a:gd name="T80" fmla="*/ 0 w 777"/>
                <a:gd name="T81" fmla="*/ 48774 h 662"/>
                <a:gd name="T82" fmla="*/ 1345 w 777"/>
                <a:gd name="T83" fmla="*/ 51484 h 66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777"/>
                <a:gd name="T127" fmla="*/ 0 h 662"/>
                <a:gd name="T128" fmla="*/ 777 w 777"/>
                <a:gd name="T129" fmla="*/ 662 h 662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777" h="662">
                  <a:moveTo>
                    <a:pt x="5" y="303"/>
                  </a:moveTo>
                  <a:lnTo>
                    <a:pt x="126" y="309"/>
                  </a:lnTo>
                  <a:lnTo>
                    <a:pt x="132" y="365"/>
                  </a:lnTo>
                  <a:lnTo>
                    <a:pt x="151" y="348"/>
                  </a:lnTo>
                  <a:lnTo>
                    <a:pt x="205" y="369"/>
                  </a:lnTo>
                  <a:lnTo>
                    <a:pt x="251" y="480"/>
                  </a:lnTo>
                  <a:lnTo>
                    <a:pt x="236" y="586"/>
                  </a:lnTo>
                  <a:lnTo>
                    <a:pt x="295" y="591"/>
                  </a:lnTo>
                  <a:lnTo>
                    <a:pt x="339" y="662"/>
                  </a:lnTo>
                  <a:lnTo>
                    <a:pt x="466" y="605"/>
                  </a:lnTo>
                  <a:lnTo>
                    <a:pt x="575" y="647"/>
                  </a:lnTo>
                  <a:lnTo>
                    <a:pt x="614" y="645"/>
                  </a:lnTo>
                  <a:lnTo>
                    <a:pt x="631" y="599"/>
                  </a:lnTo>
                  <a:lnTo>
                    <a:pt x="733" y="591"/>
                  </a:lnTo>
                  <a:lnTo>
                    <a:pt x="716" y="507"/>
                  </a:lnTo>
                  <a:lnTo>
                    <a:pt x="767" y="520"/>
                  </a:lnTo>
                  <a:lnTo>
                    <a:pt x="777" y="461"/>
                  </a:lnTo>
                  <a:lnTo>
                    <a:pt x="717" y="396"/>
                  </a:lnTo>
                  <a:lnTo>
                    <a:pt x="777" y="367"/>
                  </a:lnTo>
                  <a:lnTo>
                    <a:pt x="758" y="332"/>
                  </a:lnTo>
                  <a:lnTo>
                    <a:pt x="694" y="321"/>
                  </a:lnTo>
                  <a:lnTo>
                    <a:pt x="595" y="317"/>
                  </a:lnTo>
                  <a:lnTo>
                    <a:pt x="564" y="353"/>
                  </a:lnTo>
                  <a:lnTo>
                    <a:pt x="529" y="286"/>
                  </a:lnTo>
                  <a:lnTo>
                    <a:pt x="491" y="267"/>
                  </a:lnTo>
                  <a:lnTo>
                    <a:pt x="466" y="290"/>
                  </a:lnTo>
                  <a:lnTo>
                    <a:pt x="447" y="215"/>
                  </a:lnTo>
                  <a:lnTo>
                    <a:pt x="479" y="177"/>
                  </a:lnTo>
                  <a:lnTo>
                    <a:pt x="443" y="110"/>
                  </a:lnTo>
                  <a:lnTo>
                    <a:pt x="403" y="90"/>
                  </a:lnTo>
                  <a:lnTo>
                    <a:pt x="370" y="127"/>
                  </a:lnTo>
                  <a:lnTo>
                    <a:pt x="293" y="113"/>
                  </a:lnTo>
                  <a:lnTo>
                    <a:pt x="251" y="39"/>
                  </a:lnTo>
                  <a:lnTo>
                    <a:pt x="205" y="31"/>
                  </a:lnTo>
                  <a:lnTo>
                    <a:pt x="216" y="0"/>
                  </a:lnTo>
                  <a:lnTo>
                    <a:pt x="124" y="17"/>
                  </a:lnTo>
                  <a:lnTo>
                    <a:pt x="103" y="46"/>
                  </a:lnTo>
                  <a:lnTo>
                    <a:pt x="113" y="161"/>
                  </a:lnTo>
                  <a:lnTo>
                    <a:pt x="82" y="159"/>
                  </a:lnTo>
                  <a:lnTo>
                    <a:pt x="88" y="198"/>
                  </a:lnTo>
                  <a:lnTo>
                    <a:pt x="0" y="286"/>
                  </a:lnTo>
                  <a:lnTo>
                    <a:pt x="5" y="303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96" name="Freeform 226"/>
            <p:cNvSpPr>
              <a:spLocks/>
            </p:cNvSpPr>
            <p:nvPr/>
          </p:nvSpPr>
          <p:spPr bwMode="gray">
            <a:xfrm>
              <a:off x="8221671" y="1526284"/>
              <a:ext cx="504825" cy="409575"/>
            </a:xfrm>
            <a:custGeom>
              <a:avLst/>
              <a:gdLst>
                <a:gd name="T0" fmla="*/ 671 w 753"/>
                <a:gd name="T1" fmla="*/ 38062 h 602"/>
                <a:gd name="T2" fmla="*/ 10058 w 753"/>
                <a:gd name="T3" fmla="*/ 30585 h 602"/>
                <a:gd name="T4" fmla="*/ 26822 w 753"/>
                <a:gd name="T5" fmla="*/ 29906 h 602"/>
                <a:gd name="T6" fmla="*/ 35539 w 753"/>
                <a:gd name="T7" fmla="*/ 19711 h 602"/>
                <a:gd name="T8" fmla="*/ 38221 w 753"/>
                <a:gd name="T9" fmla="*/ 6797 h 602"/>
                <a:gd name="T10" fmla="*/ 54984 w 753"/>
                <a:gd name="T11" fmla="*/ 0 h 602"/>
                <a:gd name="T12" fmla="*/ 58337 w 753"/>
                <a:gd name="T13" fmla="*/ 5437 h 602"/>
                <a:gd name="T14" fmla="*/ 69066 w 753"/>
                <a:gd name="T15" fmla="*/ 2719 h 602"/>
                <a:gd name="T16" fmla="*/ 79794 w 753"/>
                <a:gd name="T17" fmla="*/ 16992 h 602"/>
                <a:gd name="T18" fmla="*/ 74430 w 753"/>
                <a:gd name="T19" fmla="*/ 25828 h 602"/>
                <a:gd name="T20" fmla="*/ 111980 w 753"/>
                <a:gd name="T21" fmla="*/ 21750 h 602"/>
                <a:gd name="T22" fmla="*/ 118686 w 753"/>
                <a:gd name="T23" fmla="*/ 24468 h 602"/>
                <a:gd name="T24" fmla="*/ 126062 w 753"/>
                <a:gd name="T25" fmla="*/ 44859 h 602"/>
                <a:gd name="T26" fmla="*/ 116674 w 753"/>
                <a:gd name="T27" fmla="*/ 54374 h 602"/>
                <a:gd name="T28" fmla="*/ 118015 w 753"/>
                <a:gd name="T29" fmla="*/ 66608 h 602"/>
                <a:gd name="T30" fmla="*/ 104604 w 753"/>
                <a:gd name="T31" fmla="*/ 74085 h 602"/>
                <a:gd name="T32" fmla="*/ 113992 w 753"/>
                <a:gd name="T33" fmla="*/ 92436 h 602"/>
                <a:gd name="T34" fmla="*/ 104604 w 753"/>
                <a:gd name="T35" fmla="*/ 94475 h 602"/>
                <a:gd name="T36" fmla="*/ 103934 w 753"/>
                <a:gd name="T37" fmla="*/ 95154 h 602"/>
                <a:gd name="T38" fmla="*/ 105945 w 753"/>
                <a:gd name="T39" fmla="*/ 98553 h 602"/>
                <a:gd name="T40" fmla="*/ 100581 w 753"/>
                <a:gd name="T41" fmla="*/ 101271 h 602"/>
                <a:gd name="T42" fmla="*/ 94546 w 753"/>
                <a:gd name="T43" fmla="*/ 96514 h 602"/>
                <a:gd name="T44" fmla="*/ 89852 w 753"/>
                <a:gd name="T45" fmla="*/ 103311 h 602"/>
                <a:gd name="T46" fmla="*/ 80465 w 753"/>
                <a:gd name="T47" fmla="*/ 91076 h 602"/>
                <a:gd name="T48" fmla="*/ 56996 w 753"/>
                <a:gd name="T49" fmla="*/ 85639 h 602"/>
                <a:gd name="T50" fmla="*/ 52973 w 753"/>
                <a:gd name="T51" fmla="*/ 78842 h 602"/>
                <a:gd name="T52" fmla="*/ 42915 w 753"/>
                <a:gd name="T53" fmla="*/ 78163 h 602"/>
                <a:gd name="T54" fmla="*/ 25481 w 753"/>
                <a:gd name="T55" fmla="*/ 76803 h 602"/>
                <a:gd name="T56" fmla="*/ 20787 w 753"/>
                <a:gd name="T57" fmla="*/ 82920 h 602"/>
                <a:gd name="T58" fmla="*/ 14752 w 753"/>
                <a:gd name="T59" fmla="*/ 71366 h 602"/>
                <a:gd name="T60" fmla="*/ 8046 w 753"/>
                <a:gd name="T61" fmla="*/ 67967 h 602"/>
                <a:gd name="T62" fmla="*/ 4023 w 753"/>
                <a:gd name="T63" fmla="*/ 72045 h 602"/>
                <a:gd name="T64" fmla="*/ 671 w 753"/>
                <a:gd name="T65" fmla="*/ 59811 h 602"/>
                <a:gd name="T66" fmla="*/ 6035 w 753"/>
                <a:gd name="T67" fmla="*/ 53015 h 602"/>
                <a:gd name="T68" fmla="*/ 0 w 753"/>
                <a:gd name="T69" fmla="*/ 40780 h 602"/>
                <a:gd name="T70" fmla="*/ 671 w 753"/>
                <a:gd name="T71" fmla="*/ 38062 h 60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753"/>
                <a:gd name="T109" fmla="*/ 0 h 602"/>
                <a:gd name="T110" fmla="*/ 753 w 753"/>
                <a:gd name="T111" fmla="*/ 602 h 60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753" h="602">
                  <a:moveTo>
                    <a:pt x="6" y="224"/>
                  </a:moveTo>
                  <a:lnTo>
                    <a:pt x="63" y="180"/>
                  </a:lnTo>
                  <a:lnTo>
                    <a:pt x="161" y="174"/>
                  </a:lnTo>
                  <a:lnTo>
                    <a:pt x="215" y="113"/>
                  </a:lnTo>
                  <a:lnTo>
                    <a:pt x="229" y="40"/>
                  </a:lnTo>
                  <a:lnTo>
                    <a:pt x="330" y="0"/>
                  </a:lnTo>
                  <a:lnTo>
                    <a:pt x="351" y="29"/>
                  </a:lnTo>
                  <a:lnTo>
                    <a:pt x="415" y="15"/>
                  </a:lnTo>
                  <a:lnTo>
                    <a:pt x="476" y="100"/>
                  </a:lnTo>
                  <a:lnTo>
                    <a:pt x="444" y="149"/>
                  </a:lnTo>
                  <a:lnTo>
                    <a:pt x="668" y="125"/>
                  </a:lnTo>
                  <a:lnTo>
                    <a:pt x="708" y="144"/>
                  </a:lnTo>
                  <a:lnTo>
                    <a:pt x="753" y="261"/>
                  </a:lnTo>
                  <a:lnTo>
                    <a:pt x="699" y="316"/>
                  </a:lnTo>
                  <a:lnTo>
                    <a:pt x="705" y="389"/>
                  </a:lnTo>
                  <a:lnTo>
                    <a:pt x="624" y="432"/>
                  </a:lnTo>
                  <a:lnTo>
                    <a:pt x="682" y="541"/>
                  </a:lnTo>
                  <a:lnTo>
                    <a:pt x="626" y="554"/>
                  </a:lnTo>
                  <a:lnTo>
                    <a:pt x="622" y="556"/>
                  </a:lnTo>
                  <a:lnTo>
                    <a:pt x="634" y="576"/>
                  </a:lnTo>
                  <a:lnTo>
                    <a:pt x="603" y="593"/>
                  </a:lnTo>
                  <a:lnTo>
                    <a:pt x="566" y="564"/>
                  </a:lnTo>
                  <a:lnTo>
                    <a:pt x="536" y="602"/>
                  </a:lnTo>
                  <a:lnTo>
                    <a:pt x="480" y="533"/>
                  </a:lnTo>
                  <a:lnTo>
                    <a:pt x="340" y="501"/>
                  </a:lnTo>
                  <a:lnTo>
                    <a:pt x="317" y="462"/>
                  </a:lnTo>
                  <a:lnTo>
                    <a:pt x="257" y="458"/>
                  </a:lnTo>
                  <a:lnTo>
                    <a:pt x="154" y="449"/>
                  </a:lnTo>
                  <a:lnTo>
                    <a:pt x="125" y="485"/>
                  </a:lnTo>
                  <a:lnTo>
                    <a:pt x="90" y="418"/>
                  </a:lnTo>
                  <a:lnTo>
                    <a:pt x="50" y="397"/>
                  </a:lnTo>
                  <a:lnTo>
                    <a:pt x="25" y="422"/>
                  </a:lnTo>
                  <a:lnTo>
                    <a:pt x="6" y="349"/>
                  </a:lnTo>
                  <a:lnTo>
                    <a:pt x="37" y="309"/>
                  </a:lnTo>
                  <a:lnTo>
                    <a:pt x="0" y="240"/>
                  </a:lnTo>
                  <a:lnTo>
                    <a:pt x="6" y="224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97" name="Freeform 41"/>
            <p:cNvSpPr>
              <a:spLocks/>
            </p:cNvSpPr>
            <p:nvPr/>
          </p:nvSpPr>
          <p:spPr bwMode="gray">
            <a:xfrm>
              <a:off x="9091678" y="2488305"/>
              <a:ext cx="300037" cy="400050"/>
            </a:xfrm>
            <a:custGeom>
              <a:avLst/>
              <a:gdLst>
                <a:gd name="T0" fmla="*/ 0 w 449"/>
                <a:gd name="T1" fmla="*/ 37872 h 591"/>
                <a:gd name="T2" fmla="*/ 11389 w 449"/>
                <a:gd name="T3" fmla="*/ 52750 h 591"/>
                <a:gd name="T4" fmla="*/ 9379 w 449"/>
                <a:gd name="T5" fmla="*/ 75067 h 591"/>
                <a:gd name="T6" fmla="*/ 18088 w 449"/>
                <a:gd name="T7" fmla="*/ 84535 h 591"/>
                <a:gd name="T8" fmla="*/ 35507 w 449"/>
                <a:gd name="T9" fmla="*/ 87916 h 591"/>
                <a:gd name="T10" fmla="*/ 33497 w 449"/>
                <a:gd name="T11" fmla="*/ 95355 h 591"/>
                <a:gd name="T12" fmla="*/ 42206 w 449"/>
                <a:gd name="T13" fmla="*/ 99413 h 591"/>
                <a:gd name="T14" fmla="*/ 51585 w 449"/>
                <a:gd name="T15" fmla="*/ 91297 h 591"/>
                <a:gd name="T16" fmla="*/ 44216 w 449"/>
                <a:gd name="T17" fmla="*/ 84535 h 591"/>
                <a:gd name="T18" fmla="*/ 64984 w 449"/>
                <a:gd name="T19" fmla="*/ 81153 h 591"/>
                <a:gd name="T20" fmla="*/ 75033 w 449"/>
                <a:gd name="T21" fmla="*/ 68980 h 591"/>
                <a:gd name="T22" fmla="*/ 65654 w 449"/>
                <a:gd name="T23" fmla="*/ 61541 h 591"/>
                <a:gd name="T24" fmla="*/ 70343 w 449"/>
                <a:gd name="T25" fmla="*/ 58160 h 591"/>
                <a:gd name="T26" fmla="*/ 54935 w 449"/>
                <a:gd name="T27" fmla="*/ 58160 h 591"/>
                <a:gd name="T28" fmla="*/ 50915 w 449"/>
                <a:gd name="T29" fmla="*/ 47339 h 591"/>
                <a:gd name="T30" fmla="*/ 39526 w 449"/>
                <a:gd name="T31" fmla="*/ 42605 h 591"/>
                <a:gd name="T32" fmla="*/ 42206 w 449"/>
                <a:gd name="T33" fmla="*/ 14878 h 591"/>
                <a:gd name="T34" fmla="*/ 38186 w 449"/>
                <a:gd name="T35" fmla="*/ 13526 h 591"/>
                <a:gd name="T36" fmla="*/ 34167 w 449"/>
                <a:gd name="T37" fmla="*/ 0 h 591"/>
                <a:gd name="T38" fmla="*/ 29477 w 449"/>
                <a:gd name="T39" fmla="*/ 4734 h 591"/>
                <a:gd name="T40" fmla="*/ 14069 w 449"/>
                <a:gd name="T41" fmla="*/ 676 h 591"/>
                <a:gd name="T42" fmla="*/ 10049 w 449"/>
                <a:gd name="T43" fmla="*/ 10144 h 591"/>
                <a:gd name="T44" fmla="*/ 14739 w 449"/>
                <a:gd name="T45" fmla="*/ 16231 h 591"/>
                <a:gd name="T46" fmla="*/ 4690 w 449"/>
                <a:gd name="T47" fmla="*/ 20288 h 591"/>
                <a:gd name="T48" fmla="*/ 0 w 449"/>
                <a:gd name="T49" fmla="*/ 31109 h 591"/>
                <a:gd name="T50" fmla="*/ 4020 w 449"/>
                <a:gd name="T51" fmla="*/ 35166 h 591"/>
                <a:gd name="T52" fmla="*/ 0 w 449"/>
                <a:gd name="T53" fmla="*/ 36519 h 591"/>
                <a:gd name="T54" fmla="*/ 0 w 449"/>
                <a:gd name="T55" fmla="*/ 37872 h 59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449"/>
                <a:gd name="T85" fmla="*/ 0 h 591"/>
                <a:gd name="T86" fmla="*/ 449 w 449"/>
                <a:gd name="T87" fmla="*/ 591 h 591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449" h="591">
                  <a:moveTo>
                    <a:pt x="0" y="226"/>
                  </a:moveTo>
                  <a:lnTo>
                    <a:pt x="71" y="315"/>
                  </a:lnTo>
                  <a:lnTo>
                    <a:pt x="59" y="445"/>
                  </a:lnTo>
                  <a:lnTo>
                    <a:pt x="111" y="503"/>
                  </a:lnTo>
                  <a:lnTo>
                    <a:pt x="215" y="522"/>
                  </a:lnTo>
                  <a:lnTo>
                    <a:pt x="201" y="566"/>
                  </a:lnTo>
                  <a:lnTo>
                    <a:pt x="255" y="591"/>
                  </a:lnTo>
                  <a:lnTo>
                    <a:pt x="309" y="543"/>
                  </a:lnTo>
                  <a:lnTo>
                    <a:pt x="265" y="503"/>
                  </a:lnTo>
                  <a:lnTo>
                    <a:pt x="389" y="482"/>
                  </a:lnTo>
                  <a:lnTo>
                    <a:pt x="449" y="411"/>
                  </a:lnTo>
                  <a:lnTo>
                    <a:pt x="395" y="367"/>
                  </a:lnTo>
                  <a:lnTo>
                    <a:pt x="420" y="344"/>
                  </a:lnTo>
                  <a:lnTo>
                    <a:pt x="328" y="347"/>
                  </a:lnTo>
                  <a:lnTo>
                    <a:pt x="305" y="280"/>
                  </a:lnTo>
                  <a:lnTo>
                    <a:pt x="238" y="255"/>
                  </a:lnTo>
                  <a:lnTo>
                    <a:pt x="255" y="88"/>
                  </a:lnTo>
                  <a:lnTo>
                    <a:pt x="228" y="83"/>
                  </a:lnTo>
                  <a:lnTo>
                    <a:pt x="207" y="0"/>
                  </a:lnTo>
                  <a:lnTo>
                    <a:pt x="176" y="29"/>
                  </a:lnTo>
                  <a:lnTo>
                    <a:pt x="84" y="6"/>
                  </a:lnTo>
                  <a:lnTo>
                    <a:pt x="63" y="60"/>
                  </a:lnTo>
                  <a:lnTo>
                    <a:pt x="90" y="96"/>
                  </a:lnTo>
                  <a:lnTo>
                    <a:pt x="29" y="123"/>
                  </a:lnTo>
                  <a:lnTo>
                    <a:pt x="0" y="184"/>
                  </a:lnTo>
                  <a:lnTo>
                    <a:pt x="27" y="211"/>
                  </a:lnTo>
                  <a:lnTo>
                    <a:pt x="0" y="219"/>
                  </a:lnTo>
                  <a:lnTo>
                    <a:pt x="0" y="226"/>
                  </a:lnTo>
                  <a:close/>
                </a:path>
              </a:pathLst>
            </a:custGeom>
            <a:solidFill>
              <a:srgbClr val="92D05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98" name="Freeform 46"/>
            <p:cNvSpPr>
              <a:spLocks/>
            </p:cNvSpPr>
            <p:nvPr/>
          </p:nvSpPr>
          <p:spPr bwMode="gray">
            <a:xfrm>
              <a:off x="8640829" y="1504059"/>
              <a:ext cx="465137" cy="509587"/>
            </a:xfrm>
            <a:custGeom>
              <a:avLst/>
              <a:gdLst>
                <a:gd name="T0" fmla="*/ 670 w 695"/>
                <a:gd name="T1" fmla="*/ 79936 h 752"/>
                <a:gd name="T2" fmla="*/ 9387 w 695"/>
                <a:gd name="T3" fmla="*/ 97549 h 752"/>
                <a:gd name="T4" fmla="*/ 20114 w 695"/>
                <a:gd name="T5" fmla="*/ 95517 h 752"/>
                <a:gd name="T6" fmla="*/ 25478 w 695"/>
                <a:gd name="T7" fmla="*/ 102968 h 752"/>
                <a:gd name="T8" fmla="*/ 38887 w 695"/>
                <a:gd name="T9" fmla="*/ 110420 h 752"/>
                <a:gd name="T10" fmla="*/ 42239 w 695"/>
                <a:gd name="T11" fmla="*/ 104323 h 752"/>
                <a:gd name="T12" fmla="*/ 49615 w 695"/>
                <a:gd name="T13" fmla="*/ 106356 h 752"/>
                <a:gd name="T14" fmla="*/ 50955 w 695"/>
                <a:gd name="T15" fmla="*/ 98904 h 752"/>
                <a:gd name="T16" fmla="*/ 69728 w 695"/>
                <a:gd name="T17" fmla="*/ 118549 h 752"/>
                <a:gd name="T18" fmla="*/ 76433 w 695"/>
                <a:gd name="T19" fmla="*/ 119227 h 752"/>
                <a:gd name="T20" fmla="*/ 81126 w 695"/>
                <a:gd name="T21" fmla="*/ 115162 h 752"/>
                <a:gd name="T22" fmla="*/ 80456 w 695"/>
                <a:gd name="T23" fmla="*/ 121259 h 752"/>
                <a:gd name="T24" fmla="*/ 87161 w 695"/>
                <a:gd name="T25" fmla="*/ 119227 h 752"/>
                <a:gd name="T26" fmla="*/ 91183 w 695"/>
                <a:gd name="T27" fmla="*/ 127356 h 752"/>
                <a:gd name="T28" fmla="*/ 98559 w 695"/>
                <a:gd name="T29" fmla="*/ 124646 h 752"/>
                <a:gd name="T30" fmla="*/ 96547 w 695"/>
                <a:gd name="T31" fmla="*/ 117872 h 752"/>
                <a:gd name="T32" fmla="*/ 95877 w 695"/>
                <a:gd name="T33" fmla="*/ 116517 h 752"/>
                <a:gd name="T34" fmla="*/ 107945 w 695"/>
                <a:gd name="T35" fmla="*/ 84001 h 752"/>
                <a:gd name="T36" fmla="*/ 112638 w 695"/>
                <a:gd name="T37" fmla="*/ 83323 h 752"/>
                <a:gd name="T38" fmla="*/ 109286 w 695"/>
                <a:gd name="T39" fmla="*/ 78581 h 752"/>
                <a:gd name="T40" fmla="*/ 115991 w 695"/>
                <a:gd name="T41" fmla="*/ 74517 h 752"/>
                <a:gd name="T42" fmla="*/ 115320 w 695"/>
                <a:gd name="T43" fmla="*/ 63678 h 752"/>
                <a:gd name="T44" fmla="*/ 109956 w 695"/>
                <a:gd name="T45" fmla="*/ 60968 h 752"/>
                <a:gd name="T46" fmla="*/ 113309 w 695"/>
                <a:gd name="T47" fmla="*/ 54871 h 752"/>
                <a:gd name="T48" fmla="*/ 105934 w 695"/>
                <a:gd name="T49" fmla="*/ 49452 h 752"/>
                <a:gd name="T50" fmla="*/ 99229 w 695"/>
                <a:gd name="T51" fmla="*/ 54871 h 752"/>
                <a:gd name="T52" fmla="*/ 81797 w 695"/>
                <a:gd name="T53" fmla="*/ 54871 h 752"/>
                <a:gd name="T54" fmla="*/ 82467 w 695"/>
                <a:gd name="T55" fmla="*/ 47420 h 752"/>
                <a:gd name="T56" fmla="*/ 78445 w 695"/>
                <a:gd name="T57" fmla="*/ 48097 h 752"/>
                <a:gd name="T58" fmla="*/ 70399 w 695"/>
                <a:gd name="T59" fmla="*/ 26420 h 752"/>
                <a:gd name="T60" fmla="*/ 64365 w 695"/>
                <a:gd name="T61" fmla="*/ 29807 h 752"/>
                <a:gd name="T62" fmla="*/ 56990 w 695"/>
                <a:gd name="T63" fmla="*/ 23710 h 752"/>
                <a:gd name="T64" fmla="*/ 61012 w 695"/>
                <a:gd name="T65" fmla="*/ 14903 h 752"/>
                <a:gd name="T66" fmla="*/ 43580 w 695"/>
                <a:gd name="T67" fmla="*/ 0 h 752"/>
                <a:gd name="T68" fmla="*/ 16091 w 695"/>
                <a:gd name="T69" fmla="*/ 4065 h 752"/>
                <a:gd name="T70" fmla="*/ 16091 w 695"/>
                <a:gd name="T71" fmla="*/ 16258 h 752"/>
                <a:gd name="T72" fmla="*/ 7375 w 695"/>
                <a:gd name="T73" fmla="*/ 27097 h 752"/>
                <a:gd name="T74" fmla="*/ 14080 w 695"/>
                <a:gd name="T75" fmla="*/ 31162 h 752"/>
                <a:gd name="T76" fmla="*/ 21455 w 695"/>
                <a:gd name="T77" fmla="*/ 50129 h 752"/>
                <a:gd name="T78" fmla="*/ 12068 w 695"/>
                <a:gd name="T79" fmla="*/ 58936 h 752"/>
                <a:gd name="T80" fmla="*/ 13409 w 695"/>
                <a:gd name="T81" fmla="*/ 71130 h 752"/>
                <a:gd name="T82" fmla="*/ 0 w 695"/>
                <a:gd name="T83" fmla="*/ 78581 h 752"/>
                <a:gd name="T84" fmla="*/ 670 w 695"/>
                <a:gd name="T85" fmla="*/ 79936 h 75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95"/>
                <a:gd name="T130" fmla="*/ 0 h 752"/>
                <a:gd name="T131" fmla="*/ 695 w 695"/>
                <a:gd name="T132" fmla="*/ 752 h 75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95" h="752">
                  <a:moveTo>
                    <a:pt x="4" y="474"/>
                  </a:moveTo>
                  <a:lnTo>
                    <a:pt x="58" y="576"/>
                  </a:lnTo>
                  <a:lnTo>
                    <a:pt x="123" y="564"/>
                  </a:lnTo>
                  <a:lnTo>
                    <a:pt x="155" y="607"/>
                  </a:lnTo>
                  <a:lnTo>
                    <a:pt x="234" y="649"/>
                  </a:lnTo>
                  <a:lnTo>
                    <a:pt x="255" y="616"/>
                  </a:lnTo>
                  <a:lnTo>
                    <a:pt x="299" y="626"/>
                  </a:lnTo>
                  <a:lnTo>
                    <a:pt x="305" y="584"/>
                  </a:lnTo>
                  <a:lnTo>
                    <a:pt x="416" y="697"/>
                  </a:lnTo>
                  <a:lnTo>
                    <a:pt x="459" y="704"/>
                  </a:lnTo>
                  <a:lnTo>
                    <a:pt x="486" y="680"/>
                  </a:lnTo>
                  <a:lnTo>
                    <a:pt x="480" y="714"/>
                  </a:lnTo>
                  <a:lnTo>
                    <a:pt x="522" y="701"/>
                  </a:lnTo>
                  <a:lnTo>
                    <a:pt x="545" y="752"/>
                  </a:lnTo>
                  <a:lnTo>
                    <a:pt x="591" y="735"/>
                  </a:lnTo>
                  <a:lnTo>
                    <a:pt x="576" y="693"/>
                  </a:lnTo>
                  <a:lnTo>
                    <a:pt x="574" y="687"/>
                  </a:lnTo>
                  <a:lnTo>
                    <a:pt x="645" y="499"/>
                  </a:lnTo>
                  <a:lnTo>
                    <a:pt x="672" y="493"/>
                  </a:lnTo>
                  <a:lnTo>
                    <a:pt x="653" y="465"/>
                  </a:lnTo>
                  <a:lnTo>
                    <a:pt x="695" y="440"/>
                  </a:lnTo>
                  <a:lnTo>
                    <a:pt x="691" y="378"/>
                  </a:lnTo>
                  <a:lnTo>
                    <a:pt x="656" y="357"/>
                  </a:lnTo>
                  <a:lnTo>
                    <a:pt x="678" y="323"/>
                  </a:lnTo>
                  <a:lnTo>
                    <a:pt x="633" y="290"/>
                  </a:lnTo>
                  <a:lnTo>
                    <a:pt x="595" y="323"/>
                  </a:lnTo>
                  <a:lnTo>
                    <a:pt x="491" y="323"/>
                  </a:lnTo>
                  <a:lnTo>
                    <a:pt x="495" y="280"/>
                  </a:lnTo>
                  <a:lnTo>
                    <a:pt x="468" y="282"/>
                  </a:lnTo>
                  <a:lnTo>
                    <a:pt x="420" y="156"/>
                  </a:lnTo>
                  <a:lnTo>
                    <a:pt x="384" y="175"/>
                  </a:lnTo>
                  <a:lnTo>
                    <a:pt x="342" y="140"/>
                  </a:lnTo>
                  <a:lnTo>
                    <a:pt x="365" y="87"/>
                  </a:lnTo>
                  <a:lnTo>
                    <a:pt x="263" y="0"/>
                  </a:lnTo>
                  <a:lnTo>
                    <a:pt x="96" y="23"/>
                  </a:lnTo>
                  <a:lnTo>
                    <a:pt x="96" y="96"/>
                  </a:lnTo>
                  <a:lnTo>
                    <a:pt x="46" y="158"/>
                  </a:lnTo>
                  <a:lnTo>
                    <a:pt x="84" y="181"/>
                  </a:lnTo>
                  <a:lnTo>
                    <a:pt x="129" y="294"/>
                  </a:lnTo>
                  <a:lnTo>
                    <a:pt x="75" y="348"/>
                  </a:lnTo>
                  <a:lnTo>
                    <a:pt x="81" y="422"/>
                  </a:lnTo>
                  <a:lnTo>
                    <a:pt x="0" y="465"/>
                  </a:lnTo>
                  <a:lnTo>
                    <a:pt x="4" y="474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99" name="Freeform 57"/>
            <p:cNvSpPr>
              <a:spLocks/>
            </p:cNvSpPr>
            <p:nvPr/>
          </p:nvSpPr>
          <p:spPr bwMode="gray">
            <a:xfrm>
              <a:off x="8969390" y="2932805"/>
              <a:ext cx="341313" cy="520700"/>
            </a:xfrm>
            <a:custGeom>
              <a:avLst/>
              <a:gdLst>
                <a:gd name="T0" fmla="*/ 8041 w 509"/>
                <a:gd name="T1" fmla="*/ 96621 h 772"/>
                <a:gd name="T2" fmla="*/ 11392 w 509"/>
                <a:gd name="T3" fmla="*/ 106756 h 772"/>
                <a:gd name="T4" fmla="*/ 18093 w 509"/>
                <a:gd name="T5" fmla="*/ 114188 h 772"/>
                <a:gd name="T6" fmla="*/ 16083 w 509"/>
                <a:gd name="T7" fmla="*/ 122972 h 772"/>
                <a:gd name="T8" fmla="*/ 22784 w 509"/>
                <a:gd name="T9" fmla="*/ 121620 h 772"/>
                <a:gd name="T10" fmla="*/ 34176 w 509"/>
                <a:gd name="T11" fmla="*/ 129728 h 772"/>
                <a:gd name="T12" fmla="*/ 39537 w 509"/>
                <a:gd name="T13" fmla="*/ 120945 h 772"/>
                <a:gd name="T14" fmla="*/ 44227 w 509"/>
                <a:gd name="T15" fmla="*/ 120269 h 772"/>
                <a:gd name="T16" fmla="*/ 48918 w 509"/>
                <a:gd name="T17" fmla="*/ 128377 h 772"/>
                <a:gd name="T18" fmla="*/ 53609 w 509"/>
                <a:gd name="T19" fmla="*/ 120945 h 772"/>
                <a:gd name="T20" fmla="*/ 66341 w 509"/>
                <a:gd name="T21" fmla="*/ 127701 h 772"/>
                <a:gd name="T22" fmla="*/ 66341 w 509"/>
                <a:gd name="T23" fmla="*/ 127701 h 772"/>
                <a:gd name="T24" fmla="*/ 67011 w 509"/>
                <a:gd name="T25" fmla="*/ 121620 h 772"/>
                <a:gd name="T26" fmla="*/ 70362 w 509"/>
                <a:gd name="T27" fmla="*/ 95269 h 772"/>
                <a:gd name="T28" fmla="*/ 76393 w 509"/>
                <a:gd name="T29" fmla="*/ 83107 h 772"/>
                <a:gd name="T30" fmla="*/ 75053 w 509"/>
                <a:gd name="T31" fmla="*/ 69594 h 772"/>
                <a:gd name="T32" fmla="*/ 85104 w 509"/>
                <a:gd name="T33" fmla="*/ 49999 h 772"/>
                <a:gd name="T34" fmla="*/ 76393 w 509"/>
                <a:gd name="T35" fmla="*/ 7432 h 772"/>
                <a:gd name="T36" fmla="*/ 73042 w 509"/>
                <a:gd name="T37" fmla="*/ 0 h 772"/>
                <a:gd name="T38" fmla="*/ 60980 w 509"/>
                <a:gd name="T39" fmla="*/ 6081 h 772"/>
                <a:gd name="T40" fmla="*/ 59640 w 509"/>
                <a:gd name="T41" fmla="*/ 14189 h 772"/>
                <a:gd name="T42" fmla="*/ 50929 w 509"/>
                <a:gd name="T43" fmla="*/ 15540 h 772"/>
                <a:gd name="T44" fmla="*/ 48248 w 509"/>
                <a:gd name="T45" fmla="*/ 29054 h 772"/>
                <a:gd name="T46" fmla="*/ 42217 w 509"/>
                <a:gd name="T47" fmla="*/ 27027 h 772"/>
                <a:gd name="T48" fmla="*/ 42217 w 509"/>
                <a:gd name="T49" fmla="*/ 39189 h 772"/>
                <a:gd name="T50" fmla="*/ 35516 w 509"/>
                <a:gd name="T51" fmla="*/ 41216 h 772"/>
                <a:gd name="T52" fmla="*/ 36186 w 509"/>
                <a:gd name="T53" fmla="*/ 46621 h 772"/>
                <a:gd name="T54" fmla="*/ 29485 w 509"/>
                <a:gd name="T55" fmla="*/ 47972 h 772"/>
                <a:gd name="T56" fmla="*/ 24124 w 509"/>
                <a:gd name="T57" fmla="*/ 58107 h 772"/>
                <a:gd name="T58" fmla="*/ 13402 w 509"/>
                <a:gd name="T59" fmla="*/ 59459 h 772"/>
                <a:gd name="T60" fmla="*/ 0 w 509"/>
                <a:gd name="T61" fmla="*/ 73648 h 772"/>
                <a:gd name="T62" fmla="*/ 0 w 509"/>
                <a:gd name="T63" fmla="*/ 77702 h 772"/>
                <a:gd name="T64" fmla="*/ 8041 w 509"/>
                <a:gd name="T65" fmla="*/ 96621 h 77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509"/>
                <a:gd name="T100" fmla="*/ 0 h 772"/>
                <a:gd name="T101" fmla="*/ 509 w 509"/>
                <a:gd name="T102" fmla="*/ 772 h 77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509" h="772">
                  <a:moveTo>
                    <a:pt x="48" y="574"/>
                  </a:moveTo>
                  <a:lnTo>
                    <a:pt x="70" y="636"/>
                  </a:lnTo>
                  <a:lnTo>
                    <a:pt x="108" y="678"/>
                  </a:lnTo>
                  <a:lnTo>
                    <a:pt x="98" y="732"/>
                  </a:lnTo>
                  <a:lnTo>
                    <a:pt x="137" y="722"/>
                  </a:lnTo>
                  <a:lnTo>
                    <a:pt x="204" y="772"/>
                  </a:lnTo>
                  <a:lnTo>
                    <a:pt x="238" y="720"/>
                  </a:lnTo>
                  <a:lnTo>
                    <a:pt x="267" y="714"/>
                  </a:lnTo>
                  <a:lnTo>
                    <a:pt x="294" y="762"/>
                  </a:lnTo>
                  <a:lnTo>
                    <a:pt x="321" y="718"/>
                  </a:lnTo>
                  <a:lnTo>
                    <a:pt x="396" y="760"/>
                  </a:lnTo>
                  <a:lnTo>
                    <a:pt x="398" y="758"/>
                  </a:lnTo>
                  <a:lnTo>
                    <a:pt x="402" y="724"/>
                  </a:lnTo>
                  <a:lnTo>
                    <a:pt x="421" y="568"/>
                  </a:lnTo>
                  <a:lnTo>
                    <a:pt x="459" y="495"/>
                  </a:lnTo>
                  <a:lnTo>
                    <a:pt x="448" y="415"/>
                  </a:lnTo>
                  <a:lnTo>
                    <a:pt x="509" y="296"/>
                  </a:lnTo>
                  <a:lnTo>
                    <a:pt x="459" y="46"/>
                  </a:lnTo>
                  <a:lnTo>
                    <a:pt x="436" y="0"/>
                  </a:lnTo>
                  <a:lnTo>
                    <a:pt x="367" y="37"/>
                  </a:lnTo>
                  <a:lnTo>
                    <a:pt x="356" y="85"/>
                  </a:lnTo>
                  <a:lnTo>
                    <a:pt x="306" y="94"/>
                  </a:lnTo>
                  <a:lnTo>
                    <a:pt x="290" y="175"/>
                  </a:lnTo>
                  <a:lnTo>
                    <a:pt x="252" y="160"/>
                  </a:lnTo>
                  <a:lnTo>
                    <a:pt x="254" y="233"/>
                  </a:lnTo>
                  <a:lnTo>
                    <a:pt x="212" y="244"/>
                  </a:lnTo>
                  <a:lnTo>
                    <a:pt x="219" y="279"/>
                  </a:lnTo>
                  <a:lnTo>
                    <a:pt x="179" y="284"/>
                  </a:lnTo>
                  <a:lnTo>
                    <a:pt x="144" y="346"/>
                  </a:lnTo>
                  <a:lnTo>
                    <a:pt x="83" y="352"/>
                  </a:lnTo>
                  <a:lnTo>
                    <a:pt x="0" y="438"/>
                  </a:lnTo>
                  <a:lnTo>
                    <a:pt x="0" y="463"/>
                  </a:lnTo>
                  <a:lnTo>
                    <a:pt x="48" y="574"/>
                  </a:lnTo>
                  <a:close/>
                </a:path>
              </a:pathLst>
            </a:custGeom>
            <a:solidFill>
              <a:srgbClr val="92D050"/>
            </a:solidFill>
            <a:ln w="9525">
              <a:solidFill>
                <a:srgbClr val="92D050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00" name="Freeform 60"/>
            <p:cNvSpPr>
              <a:spLocks/>
            </p:cNvSpPr>
            <p:nvPr/>
          </p:nvSpPr>
          <p:spPr bwMode="gray">
            <a:xfrm>
              <a:off x="8296283" y="3137592"/>
              <a:ext cx="534988" cy="588963"/>
            </a:xfrm>
            <a:custGeom>
              <a:avLst/>
              <a:gdLst>
                <a:gd name="T0" fmla="*/ 1341 w 799"/>
                <a:gd name="T1" fmla="*/ 69855 h 869"/>
                <a:gd name="T2" fmla="*/ 671 w 799"/>
                <a:gd name="T3" fmla="*/ 75959 h 869"/>
                <a:gd name="T4" fmla="*/ 8718 w 799"/>
                <a:gd name="T5" fmla="*/ 77315 h 869"/>
                <a:gd name="T6" fmla="*/ 2012 w 799"/>
                <a:gd name="T7" fmla="*/ 85454 h 869"/>
                <a:gd name="T8" fmla="*/ 10729 w 799"/>
                <a:gd name="T9" fmla="*/ 92236 h 869"/>
                <a:gd name="T10" fmla="*/ 24141 w 799"/>
                <a:gd name="T11" fmla="*/ 86810 h 869"/>
                <a:gd name="T12" fmla="*/ 30847 w 799"/>
                <a:gd name="T13" fmla="*/ 92236 h 869"/>
                <a:gd name="T14" fmla="*/ 26824 w 799"/>
                <a:gd name="T15" fmla="*/ 94270 h 869"/>
                <a:gd name="T16" fmla="*/ 38894 w 799"/>
                <a:gd name="T17" fmla="*/ 95627 h 869"/>
                <a:gd name="T18" fmla="*/ 52977 w 799"/>
                <a:gd name="T19" fmla="*/ 109191 h 869"/>
                <a:gd name="T20" fmla="*/ 63706 w 799"/>
                <a:gd name="T21" fmla="*/ 136997 h 869"/>
                <a:gd name="T22" fmla="*/ 73765 w 799"/>
                <a:gd name="T23" fmla="*/ 143779 h 869"/>
                <a:gd name="T24" fmla="*/ 87177 w 799"/>
                <a:gd name="T25" fmla="*/ 141744 h 869"/>
                <a:gd name="T26" fmla="*/ 89859 w 799"/>
                <a:gd name="T27" fmla="*/ 147848 h 869"/>
                <a:gd name="T28" fmla="*/ 100589 w 799"/>
                <a:gd name="T29" fmla="*/ 147848 h 869"/>
                <a:gd name="T30" fmla="*/ 101259 w 799"/>
                <a:gd name="T31" fmla="*/ 130893 h 869"/>
                <a:gd name="T32" fmla="*/ 114671 w 799"/>
                <a:gd name="T33" fmla="*/ 132928 h 869"/>
                <a:gd name="T34" fmla="*/ 118024 w 799"/>
                <a:gd name="T35" fmla="*/ 124111 h 869"/>
                <a:gd name="T36" fmla="*/ 126742 w 799"/>
                <a:gd name="T37" fmla="*/ 121398 h 869"/>
                <a:gd name="T38" fmla="*/ 133448 w 799"/>
                <a:gd name="T39" fmla="*/ 109191 h 869"/>
                <a:gd name="T40" fmla="*/ 118695 w 799"/>
                <a:gd name="T41" fmla="*/ 101730 h 869"/>
                <a:gd name="T42" fmla="*/ 126742 w 799"/>
                <a:gd name="T43" fmla="*/ 90879 h 869"/>
                <a:gd name="T44" fmla="*/ 112659 w 799"/>
                <a:gd name="T45" fmla="*/ 88166 h 869"/>
                <a:gd name="T46" fmla="*/ 114671 w 799"/>
                <a:gd name="T47" fmla="*/ 84097 h 869"/>
                <a:gd name="T48" fmla="*/ 105283 w 799"/>
                <a:gd name="T49" fmla="*/ 80706 h 869"/>
                <a:gd name="T50" fmla="*/ 107295 w 799"/>
                <a:gd name="T51" fmla="*/ 59682 h 869"/>
                <a:gd name="T52" fmla="*/ 93883 w 799"/>
                <a:gd name="T53" fmla="*/ 35267 h 869"/>
                <a:gd name="T54" fmla="*/ 90530 w 799"/>
                <a:gd name="T55" fmla="*/ 18990 h 869"/>
                <a:gd name="T56" fmla="*/ 84495 w 799"/>
                <a:gd name="T57" fmla="*/ 8817 h 869"/>
                <a:gd name="T58" fmla="*/ 76447 w 799"/>
                <a:gd name="T59" fmla="*/ 8817 h 869"/>
                <a:gd name="T60" fmla="*/ 74436 w 799"/>
                <a:gd name="T61" fmla="*/ 0 h 869"/>
                <a:gd name="T62" fmla="*/ 63036 w 799"/>
                <a:gd name="T63" fmla="*/ 10851 h 869"/>
                <a:gd name="T64" fmla="*/ 52306 w 799"/>
                <a:gd name="T65" fmla="*/ 33910 h 869"/>
                <a:gd name="T66" fmla="*/ 39565 w 799"/>
                <a:gd name="T67" fmla="*/ 31197 h 869"/>
                <a:gd name="T68" fmla="*/ 30177 w 799"/>
                <a:gd name="T69" fmla="*/ 36623 h 869"/>
                <a:gd name="T70" fmla="*/ 0 w 799"/>
                <a:gd name="T71" fmla="*/ 52900 h 869"/>
                <a:gd name="T72" fmla="*/ 1341 w 799"/>
                <a:gd name="T73" fmla="*/ 69855 h 86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799"/>
                <a:gd name="T112" fmla="*/ 0 h 869"/>
                <a:gd name="T113" fmla="*/ 799 w 799"/>
                <a:gd name="T114" fmla="*/ 869 h 869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799" h="869">
                  <a:moveTo>
                    <a:pt x="10" y="412"/>
                  </a:moveTo>
                  <a:lnTo>
                    <a:pt x="4" y="445"/>
                  </a:lnTo>
                  <a:lnTo>
                    <a:pt x="54" y="456"/>
                  </a:lnTo>
                  <a:lnTo>
                    <a:pt x="14" y="502"/>
                  </a:lnTo>
                  <a:lnTo>
                    <a:pt x="66" y="543"/>
                  </a:lnTo>
                  <a:lnTo>
                    <a:pt x="144" y="512"/>
                  </a:lnTo>
                  <a:lnTo>
                    <a:pt x="185" y="543"/>
                  </a:lnTo>
                  <a:lnTo>
                    <a:pt x="162" y="556"/>
                  </a:lnTo>
                  <a:lnTo>
                    <a:pt x="235" y="564"/>
                  </a:lnTo>
                  <a:lnTo>
                    <a:pt x="317" y="642"/>
                  </a:lnTo>
                  <a:lnTo>
                    <a:pt x="381" y="806"/>
                  </a:lnTo>
                  <a:lnTo>
                    <a:pt x="440" y="846"/>
                  </a:lnTo>
                  <a:lnTo>
                    <a:pt x="521" y="834"/>
                  </a:lnTo>
                  <a:lnTo>
                    <a:pt x="538" y="869"/>
                  </a:lnTo>
                  <a:lnTo>
                    <a:pt x="601" y="869"/>
                  </a:lnTo>
                  <a:lnTo>
                    <a:pt x="605" y="771"/>
                  </a:lnTo>
                  <a:lnTo>
                    <a:pt x="684" y="784"/>
                  </a:lnTo>
                  <a:lnTo>
                    <a:pt x="705" y="731"/>
                  </a:lnTo>
                  <a:lnTo>
                    <a:pt x="759" y="715"/>
                  </a:lnTo>
                  <a:lnTo>
                    <a:pt x="799" y="642"/>
                  </a:lnTo>
                  <a:lnTo>
                    <a:pt x="709" y="600"/>
                  </a:lnTo>
                  <a:lnTo>
                    <a:pt x="759" y="535"/>
                  </a:lnTo>
                  <a:lnTo>
                    <a:pt x="674" y="520"/>
                  </a:lnTo>
                  <a:lnTo>
                    <a:pt x="684" y="495"/>
                  </a:lnTo>
                  <a:lnTo>
                    <a:pt x="630" y="474"/>
                  </a:lnTo>
                  <a:lnTo>
                    <a:pt x="642" y="351"/>
                  </a:lnTo>
                  <a:lnTo>
                    <a:pt x="563" y="205"/>
                  </a:lnTo>
                  <a:lnTo>
                    <a:pt x="540" y="111"/>
                  </a:lnTo>
                  <a:lnTo>
                    <a:pt x="507" y="51"/>
                  </a:lnTo>
                  <a:lnTo>
                    <a:pt x="459" y="51"/>
                  </a:lnTo>
                  <a:lnTo>
                    <a:pt x="444" y="0"/>
                  </a:lnTo>
                  <a:lnTo>
                    <a:pt x="379" y="63"/>
                  </a:lnTo>
                  <a:lnTo>
                    <a:pt x="315" y="199"/>
                  </a:lnTo>
                  <a:lnTo>
                    <a:pt x="237" y="184"/>
                  </a:lnTo>
                  <a:lnTo>
                    <a:pt x="183" y="216"/>
                  </a:lnTo>
                  <a:lnTo>
                    <a:pt x="0" y="309"/>
                  </a:lnTo>
                  <a:lnTo>
                    <a:pt x="10" y="412"/>
                  </a:lnTo>
                  <a:close/>
                </a:path>
              </a:pathLst>
            </a:custGeom>
            <a:solidFill>
              <a:srgbClr val="92D050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01" name="Freeform 63"/>
            <p:cNvSpPr>
              <a:spLocks/>
            </p:cNvSpPr>
            <p:nvPr/>
          </p:nvSpPr>
          <p:spPr bwMode="gray">
            <a:xfrm>
              <a:off x="8369314" y="2883698"/>
              <a:ext cx="431800" cy="403225"/>
            </a:xfrm>
            <a:custGeom>
              <a:avLst/>
              <a:gdLst>
                <a:gd name="T0" fmla="*/ 672 w 641"/>
                <a:gd name="T1" fmla="*/ 61071 h 593"/>
                <a:gd name="T2" fmla="*/ 8742 w 641"/>
                <a:gd name="T3" fmla="*/ 80749 h 593"/>
                <a:gd name="T4" fmla="*/ 4707 w 641"/>
                <a:gd name="T5" fmla="*/ 90928 h 593"/>
                <a:gd name="T6" fmla="*/ 11432 w 641"/>
                <a:gd name="T7" fmla="*/ 101106 h 593"/>
                <a:gd name="T8" fmla="*/ 21519 w 641"/>
                <a:gd name="T9" fmla="*/ 94999 h 593"/>
                <a:gd name="T10" fmla="*/ 34297 w 641"/>
                <a:gd name="T11" fmla="*/ 97035 h 593"/>
                <a:gd name="T12" fmla="*/ 45056 w 641"/>
                <a:gd name="T13" fmla="*/ 74642 h 593"/>
                <a:gd name="T14" fmla="*/ 55143 w 641"/>
                <a:gd name="T15" fmla="*/ 64464 h 593"/>
                <a:gd name="T16" fmla="*/ 59178 w 641"/>
                <a:gd name="T17" fmla="*/ 72606 h 593"/>
                <a:gd name="T18" fmla="*/ 67248 w 641"/>
                <a:gd name="T19" fmla="*/ 72606 h 593"/>
                <a:gd name="T20" fmla="*/ 71955 w 641"/>
                <a:gd name="T21" fmla="*/ 82785 h 593"/>
                <a:gd name="T22" fmla="*/ 75990 w 641"/>
                <a:gd name="T23" fmla="*/ 98392 h 593"/>
                <a:gd name="T24" fmla="*/ 77335 w 641"/>
                <a:gd name="T25" fmla="*/ 96356 h 593"/>
                <a:gd name="T26" fmla="*/ 86078 w 641"/>
                <a:gd name="T27" fmla="*/ 70571 h 593"/>
                <a:gd name="T28" fmla="*/ 93475 w 641"/>
                <a:gd name="T29" fmla="*/ 72606 h 593"/>
                <a:gd name="T30" fmla="*/ 97510 w 641"/>
                <a:gd name="T31" fmla="*/ 63785 h 593"/>
                <a:gd name="T32" fmla="*/ 108269 w 641"/>
                <a:gd name="T33" fmla="*/ 60392 h 593"/>
                <a:gd name="T34" fmla="*/ 101545 w 641"/>
                <a:gd name="T35" fmla="*/ 44107 h 593"/>
                <a:gd name="T36" fmla="*/ 106924 w 641"/>
                <a:gd name="T37" fmla="*/ 44785 h 593"/>
                <a:gd name="T38" fmla="*/ 96165 w 641"/>
                <a:gd name="T39" fmla="*/ 24428 h 593"/>
                <a:gd name="T40" fmla="*/ 84733 w 641"/>
                <a:gd name="T41" fmla="*/ 22393 h 593"/>
                <a:gd name="T42" fmla="*/ 86750 w 641"/>
                <a:gd name="T43" fmla="*/ 15607 h 593"/>
                <a:gd name="T44" fmla="*/ 78680 w 641"/>
                <a:gd name="T45" fmla="*/ 22393 h 593"/>
                <a:gd name="T46" fmla="*/ 68593 w 641"/>
                <a:gd name="T47" fmla="*/ 10857 h 593"/>
                <a:gd name="T48" fmla="*/ 53798 w 641"/>
                <a:gd name="T49" fmla="*/ 10857 h 593"/>
                <a:gd name="T50" fmla="*/ 53126 w 641"/>
                <a:gd name="T51" fmla="*/ 4750 h 593"/>
                <a:gd name="T52" fmla="*/ 39004 w 641"/>
                <a:gd name="T53" fmla="*/ 0 h 593"/>
                <a:gd name="T54" fmla="*/ 39004 w 641"/>
                <a:gd name="T55" fmla="*/ 10857 h 593"/>
                <a:gd name="T56" fmla="*/ 24209 w 641"/>
                <a:gd name="T57" fmla="*/ 7464 h 593"/>
                <a:gd name="T58" fmla="*/ 24209 w 641"/>
                <a:gd name="T59" fmla="*/ 15607 h 593"/>
                <a:gd name="T60" fmla="*/ 11432 w 641"/>
                <a:gd name="T61" fmla="*/ 29178 h 593"/>
                <a:gd name="T62" fmla="*/ 14122 w 641"/>
                <a:gd name="T63" fmla="*/ 35285 h 593"/>
                <a:gd name="T64" fmla="*/ 9415 w 641"/>
                <a:gd name="T65" fmla="*/ 45464 h 593"/>
                <a:gd name="T66" fmla="*/ 2690 w 641"/>
                <a:gd name="T67" fmla="*/ 48857 h 593"/>
                <a:gd name="T68" fmla="*/ 5380 w 641"/>
                <a:gd name="T69" fmla="*/ 57678 h 593"/>
                <a:gd name="T70" fmla="*/ 0 w 641"/>
                <a:gd name="T71" fmla="*/ 58357 h 593"/>
                <a:gd name="T72" fmla="*/ 672 w 641"/>
                <a:gd name="T73" fmla="*/ 61071 h 59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41"/>
                <a:gd name="T112" fmla="*/ 0 h 593"/>
                <a:gd name="T113" fmla="*/ 641 w 641"/>
                <a:gd name="T114" fmla="*/ 593 h 59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41" h="593">
                  <a:moveTo>
                    <a:pt x="2" y="359"/>
                  </a:moveTo>
                  <a:lnTo>
                    <a:pt x="50" y="474"/>
                  </a:lnTo>
                  <a:lnTo>
                    <a:pt x="27" y="536"/>
                  </a:lnTo>
                  <a:lnTo>
                    <a:pt x="67" y="593"/>
                  </a:lnTo>
                  <a:lnTo>
                    <a:pt x="125" y="559"/>
                  </a:lnTo>
                  <a:lnTo>
                    <a:pt x="203" y="572"/>
                  </a:lnTo>
                  <a:lnTo>
                    <a:pt x="265" y="438"/>
                  </a:lnTo>
                  <a:lnTo>
                    <a:pt x="328" y="378"/>
                  </a:lnTo>
                  <a:lnTo>
                    <a:pt x="351" y="426"/>
                  </a:lnTo>
                  <a:lnTo>
                    <a:pt x="399" y="426"/>
                  </a:lnTo>
                  <a:lnTo>
                    <a:pt x="428" y="486"/>
                  </a:lnTo>
                  <a:lnTo>
                    <a:pt x="451" y="580"/>
                  </a:lnTo>
                  <a:lnTo>
                    <a:pt x="457" y="568"/>
                  </a:lnTo>
                  <a:lnTo>
                    <a:pt x="512" y="413"/>
                  </a:lnTo>
                  <a:lnTo>
                    <a:pt x="553" y="426"/>
                  </a:lnTo>
                  <a:lnTo>
                    <a:pt x="578" y="375"/>
                  </a:lnTo>
                  <a:lnTo>
                    <a:pt x="641" y="353"/>
                  </a:lnTo>
                  <a:lnTo>
                    <a:pt x="604" y="257"/>
                  </a:lnTo>
                  <a:lnTo>
                    <a:pt x="635" y="261"/>
                  </a:lnTo>
                  <a:lnTo>
                    <a:pt x="572" y="142"/>
                  </a:lnTo>
                  <a:lnTo>
                    <a:pt x="503" y="129"/>
                  </a:lnTo>
                  <a:lnTo>
                    <a:pt x="514" y="89"/>
                  </a:lnTo>
                  <a:lnTo>
                    <a:pt x="466" y="129"/>
                  </a:lnTo>
                  <a:lnTo>
                    <a:pt x="405" y="64"/>
                  </a:lnTo>
                  <a:lnTo>
                    <a:pt x="320" y="62"/>
                  </a:lnTo>
                  <a:lnTo>
                    <a:pt x="315" y="27"/>
                  </a:lnTo>
                  <a:lnTo>
                    <a:pt x="230" y="0"/>
                  </a:lnTo>
                  <a:lnTo>
                    <a:pt x="230" y="64"/>
                  </a:lnTo>
                  <a:lnTo>
                    <a:pt x="144" y="41"/>
                  </a:lnTo>
                  <a:lnTo>
                    <a:pt x="144" y="91"/>
                  </a:lnTo>
                  <a:lnTo>
                    <a:pt x="67" y="171"/>
                  </a:lnTo>
                  <a:lnTo>
                    <a:pt x="82" y="208"/>
                  </a:lnTo>
                  <a:lnTo>
                    <a:pt x="54" y="267"/>
                  </a:lnTo>
                  <a:lnTo>
                    <a:pt x="15" y="288"/>
                  </a:lnTo>
                  <a:lnTo>
                    <a:pt x="32" y="338"/>
                  </a:lnTo>
                  <a:lnTo>
                    <a:pt x="0" y="344"/>
                  </a:lnTo>
                  <a:lnTo>
                    <a:pt x="2" y="359"/>
                  </a:lnTo>
                  <a:close/>
                </a:path>
              </a:pathLst>
            </a:custGeom>
            <a:solidFill>
              <a:srgbClr val="92D05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02" name="Freeform 64"/>
            <p:cNvSpPr>
              <a:spLocks/>
            </p:cNvSpPr>
            <p:nvPr/>
          </p:nvSpPr>
          <p:spPr bwMode="gray">
            <a:xfrm>
              <a:off x="8096258" y="2743892"/>
              <a:ext cx="430213" cy="395288"/>
            </a:xfrm>
            <a:custGeom>
              <a:avLst/>
              <a:gdLst>
                <a:gd name="T0" fmla="*/ 672 w 639"/>
                <a:gd name="T1" fmla="*/ 64921 h 583"/>
                <a:gd name="T2" fmla="*/ 14795 w 639"/>
                <a:gd name="T3" fmla="*/ 74389 h 583"/>
                <a:gd name="T4" fmla="*/ 12105 w 639"/>
                <a:gd name="T5" fmla="*/ 76417 h 583"/>
                <a:gd name="T6" fmla="*/ 18157 w 639"/>
                <a:gd name="T7" fmla="*/ 86561 h 583"/>
                <a:gd name="T8" fmla="*/ 32952 w 639"/>
                <a:gd name="T9" fmla="*/ 85209 h 583"/>
                <a:gd name="T10" fmla="*/ 44384 w 639"/>
                <a:gd name="T11" fmla="*/ 98058 h 583"/>
                <a:gd name="T12" fmla="*/ 69266 w 639"/>
                <a:gd name="T13" fmla="*/ 92648 h 583"/>
                <a:gd name="T14" fmla="*/ 74646 w 639"/>
                <a:gd name="T15" fmla="*/ 92648 h 583"/>
                <a:gd name="T16" fmla="*/ 71283 w 639"/>
                <a:gd name="T17" fmla="*/ 83180 h 583"/>
                <a:gd name="T18" fmla="*/ 77336 w 639"/>
                <a:gd name="T19" fmla="*/ 80475 h 583"/>
                <a:gd name="T20" fmla="*/ 82715 w 639"/>
                <a:gd name="T21" fmla="*/ 69655 h 583"/>
                <a:gd name="T22" fmla="*/ 80698 w 639"/>
                <a:gd name="T23" fmla="*/ 63569 h 583"/>
                <a:gd name="T24" fmla="*/ 93475 w 639"/>
                <a:gd name="T25" fmla="*/ 50043 h 583"/>
                <a:gd name="T26" fmla="*/ 93475 w 639"/>
                <a:gd name="T27" fmla="*/ 41928 h 583"/>
                <a:gd name="T28" fmla="*/ 107597 w 639"/>
                <a:gd name="T29" fmla="*/ 45309 h 583"/>
                <a:gd name="T30" fmla="*/ 107597 w 639"/>
                <a:gd name="T31" fmla="*/ 34489 h 583"/>
                <a:gd name="T32" fmla="*/ 105580 w 639"/>
                <a:gd name="T33" fmla="*/ 2705 h 583"/>
                <a:gd name="T34" fmla="*/ 86750 w 639"/>
                <a:gd name="T35" fmla="*/ 12173 h 583"/>
                <a:gd name="T36" fmla="*/ 69266 w 639"/>
                <a:gd name="T37" fmla="*/ 0 h 583"/>
                <a:gd name="T38" fmla="*/ 56489 w 639"/>
                <a:gd name="T39" fmla="*/ 6763 h 583"/>
                <a:gd name="T40" fmla="*/ 3362 w 639"/>
                <a:gd name="T41" fmla="*/ 35166 h 583"/>
                <a:gd name="T42" fmla="*/ 8742 w 639"/>
                <a:gd name="T43" fmla="*/ 42604 h 583"/>
                <a:gd name="T44" fmla="*/ 1345 w 639"/>
                <a:gd name="T45" fmla="*/ 50043 h 583"/>
                <a:gd name="T46" fmla="*/ 4707 w 639"/>
                <a:gd name="T47" fmla="*/ 59511 h 583"/>
                <a:gd name="T48" fmla="*/ 0 w 639"/>
                <a:gd name="T49" fmla="*/ 62892 h 583"/>
                <a:gd name="T50" fmla="*/ 672 w 639"/>
                <a:gd name="T51" fmla="*/ 64921 h 58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39"/>
                <a:gd name="T79" fmla="*/ 0 h 583"/>
                <a:gd name="T80" fmla="*/ 639 w 639"/>
                <a:gd name="T81" fmla="*/ 583 h 583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39" h="583">
                  <a:moveTo>
                    <a:pt x="4" y="386"/>
                  </a:moveTo>
                  <a:lnTo>
                    <a:pt x="88" y="441"/>
                  </a:lnTo>
                  <a:lnTo>
                    <a:pt x="71" y="455"/>
                  </a:lnTo>
                  <a:lnTo>
                    <a:pt x="106" y="512"/>
                  </a:lnTo>
                  <a:lnTo>
                    <a:pt x="194" y="507"/>
                  </a:lnTo>
                  <a:lnTo>
                    <a:pt x="263" y="583"/>
                  </a:lnTo>
                  <a:lnTo>
                    <a:pt x="411" y="549"/>
                  </a:lnTo>
                  <a:lnTo>
                    <a:pt x="443" y="549"/>
                  </a:lnTo>
                  <a:lnTo>
                    <a:pt x="424" y="493"/>
                  </a:lnTo>
                  <a:lnTo>
                    <a:pt x="459" y="476"/>
                  </a:lnTo>
                  <a:lnTo>
                    <a:pt x="491" y="415"/>
                  </a:lnTo>
                  <a:lnTo>
                    <a:pt x="478" y="378"/>
                  </a:lnTo>
                  <a:lnTo>
                    <a:pt x="555" y="298"/>
                  </a:lnTo>
                  <a:lnTo>
                    <a:pt x="555" y="248"/>
                  </a:lnTo>
                  <a:lnTo>
                    <a:pt x="637" y="269"/>
                  </a:lnTo>
                  <a:lnTo>
                    <a:pt x="639" y="207"/>
                  </a:lnTo>
                  <a:lnTo>
                    <a:pt x="628" y="19"/>
                  </a:lnTo>
                  <a:lnTo>
                    <a:pt x="516" y="73"/>
                  </a:lnTo>
                  <a:lnTo>
                    <a:pt x="411" y="0"/>
                  </a:lnTo>
                  <a:lnTo>
                    <a:pt x="334" y="40"/>
                  </a:lnTo>
                  <a:lnTo>
                    <a:pt x="19" y="211"/>
                  </a:lnTo>
                  <a:lnTo>
                    <a:pt x="52" y="255"/>
                  </a:lnTo>
                  <a:lnTo>
                    <a:pt x="8" y="299"/>
                  </a:lnTo>
                  <a:lnTo>
                    <a:pt x="25" y="355"/>
                  </a:lnTo>
                  <a:lnTo>
                    <a:pt x="0" y="374"/>
                  </a:lnTo>
                  <a:lnTo>
                    <a:pt x="4" y="386"/>
                  </a:lnTo>
                  <a:close/>
                </a:path>
              </a:pathLst>
            </a:custGeom>
            <a:solidFill>
              <a:srgbClr val="92D05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03" name="Freeform 68"/>
            <p:cNvSpPr>
              <a:spLocks/>
            </p:cNvSpPr>
            <p:nvPr/>
          </p:nvSpPr>
          <p:spPr bwMode="gray">
            <a:xfrm>
              <a:off x="8769358" y="3361430"/>
              <a:ext cx="533400" cy="476250"/>
            </a:xfrm>
            <a:custGeom>
              <a:avLst/>
              <a:gdLst>
                <a:gd name="T0" fmla="*/ 0 w 795"/>
                <a:gd name="T1" fmla="*/ 45517 h 700"/>
                <a:gd name="T2" fmla="*/ 8718 w 795"/>
                <a:gd name="T3" fmla="*/ 34647 h 700"/>
                <a:gd name="T4" fmla="*/ 23471 w 795"/>
                <a:gd name="T5" fmla="*/ 42120 h 700"/>
                <a:gd name="T6" fmla="*/ 30847 w 795"/>
                <a:gd name="T7" fmla="*/ 40762 h 700"/>
                <a:gd name="T8" fmla="*/ 33529 w 795"/>
                <a:gd name="T9" fmla="*/ 32609 h 700"/>
                <a:gd name="T10" fmla="*/ 42918 w 795"/>
                <a:gd name="T11" fmla="*/ 39403 h 700"/>
                <a:gd name="T12" fmla="*/ 59012 w 795"/>
                <a:gd name="T13" fmla="*/ 36006 h 700"/>
                <a:gd name="T14" fmla="*/ 57000 w 795"/>
                <a:gd name="T15" fmla="*/ 14946 h 700"/>
                <a:gd name="T16" fmla="*/ 52306 w 795"/>
                <a:gd name="T17" fmla="*/ 9511 h 700"/>
                <a:gd name="T18" fmla="*/ 61023 w 795"/>
                <a:gd name="T19" fmla="*/ 0 h 700"/>
                <a:gd name="T20" fmla="*/ 67059 w 795"/>
                <a:gd name="T21" fmla="*/ 6794 h 700"/>
                <a:gd name="T22" fmla="*/ 65718 w 795"/>
                <a:gd name="T23" fmla="*/ 17663 h 700"/>
                <a:gd name="T24" fmla="*/ 72423 w 795"/>
                <a:gd name="T25" fmla="*/ 14946 h 700"/>
                <a:gd name="T26" fmla="*/ 83153 w 795"/>
                <a:gd name="T27" fmla="*/ 23098 h 700"/>
                <a:gd name="T28" fmla="*/ 89188 w 795"/>
                <a:gd name="T29" fmla="*/ 14267 h 700"/>
                <a:gd name="T30" fmla="*/ 93882 w 795"/>
                <a:gd name="T31" fmla="*/ 12908 h 700"/>
                <a:gd name="T32" fmla="*/ 97906 w 795"/>
                <a:gd name="T33" fmla="*/ 20381 h 700"/>
                <a:gd name="T34" fmla="*/ 103941 w 795"/>
                <a:gd name="T35" fmla="*/ 13587 h 700"/>
                <a:gd name="T36" fmla="*/ 116012 w 795"/>
                <a:gd name="T37" fmla="*/ 21060 h 700"/>
                <a:gd name="T38" fmla="*/ 122718 w 795"/>
                <a:gd name="T39" fmla="*/ 31250 h 700"/>
                <a:gd name="T40" fmla="*/ 121376 w 795"/>
                <a:gd name="T41" fmla="*/ 40762 h 700"/>
                <a:gd name="T42" fmla="*/ 132776 w 795"/>
                <a:gd name="T43" fmla="*/ 52311 h 700"/>
                <a:gd name="T44" fmla="*/ 124729 w 795"/>
                <a:gd name="T45" fmla="*/ 63180 h 700"/>
                <a:gd name="T46" fmla="*/ 116682 w 795"/>
                <a:gd name="T47" fmla="*/ 69974 h 700"/>
                <a:gd name="T48" fmla="*/ 115341 w 795"/>
                <a:gd name="T49" fmla="*/ 91034 h 700"/>
                <a:gd name="T50" fmla="*/ 103270 w 795"/>
                <a:gd name="T51" fmla="*/ 90355 h 700"/>
                <a:gd name="T52" fmla="*/ 98576 w 795"/>
                <a:gd name="T53" fmla="*/ 99186 h 700"/>
                <a:gd name="T54" fmla="*/ 101259 w 795"/>
                <a:gd name="T55" fmla="*/ 102583 h 700"/>
                <a:gd name="T56" fmla="*/ 91870 w 795"/>
                <a:gd name="T57" fmla="*/ 109377 h 700"/>
                <a:gd name="T58" fmla="*/ 82482 w 795"/>
                <a:gd name="T59" fmla="*/ 115491 h 700"/>
                <a:gd name="T60" fmla="*/ 81812 w 795"/>
                <a:gd name="T61" fmla="*/ 119567 h 700"/>
                <a:gd name="T62" fmla="*/ 73094 w 795"/>
                <a:gd name="T63" fmla="*/ 115491 h 700"/>
                <a:gd name="T64" fmla="*/ 71082 w 795"/>
                <a:gd name="T65" fmla="*/ 107339 h 700"/>
                <a:gd name="T66" fmla="*/ 70412 w 795"/>
                <a:gd name="T67" fmla="*/ 104621 h 700"/>
                <a:gd name="T68" fmla="*/ 70412 w 795"/>
                <a:gd name="T69" fmla="*/ 103942 h 700"/>
                <a:gd name="T70" fmla="*/ 79129 w 795"/>
                <a:gd name="T71" fmla="*/ 97148 h 700"/>
                <a:gd name="T72" fmla="*/ 74435 w 795"/>
                <a:gd name="T73" fmla="*/ 86958 h 700"/>
                <a:gd name="T74" fmla="*/ 59012 w 795"/>
                <a:gd name="T75" fmla="*/ 78806 h 700"/>
                <a:gd name="T76" fmla="*/ 54988 w 795"/>
                <a:gd name="T77" fmla="*/ 69295 h 700"/>
                <a:gd name="T78" fmla="*/ 44259 w 795"/>
                <a:gd name="T79" fmla="*/ 68615 h 700"/>
                <a:gd name="T80" fmla="*/ 43588 w 795"/>
                <a:gd name="T81" fmla="*/ 59784 h 700"/>
                <a:gd name="T82" fmla="*/ 35541 w 795"/>
                <a:gd name="T83" fmla="*/ 60463 h 700"/>
                <a:gd name="T84" fmla="*/ 26153 w 795"/>
                <a:gd name="T85" fmla="*/ 73371 h 700"/>
                <a:gd name="T86" fmla="*/ 8718 w 795"/>
                <a:gd name="T87" fmla="*/ 65218 h 700"/>
                <a:gd name="T88" fmla="*/ 15424 w 795"/>
                <a:gd name="T89" fmla="*/ 52990 h 700"/>
                <a:gd name="T90" fmla="*/ 0 w 795"/>
                <a:gd name="T91" fmla="*/ 45517 h 70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95"/>
                <a:gd name="T139" fmla="*/ 0 h 700"/>
                <a:gd name="T140" fmla="*/ 795 w 795"/>
                <a:gd name="T141" fmla="*/ 700 h 70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95" h="700">
                  <a:moveTo>
                    <a:pt x="0" y="268"/>
                  </a:moveTo>
                  <a:lnTo>
                    <a:pt x="54" y="203"/>
                  </a:lnTo>
                  <a:lnTo>
                    <a:pt x="142" y="245"/>
                  </a:lnTo>
                  <a:lnTo>
                    <a:pt x="184" y="239"/>
                  </a:lnTo>
                  <a:lnTo>
                    <a:pt x="203" y="191"/>
                  </a:lnTo>
                  <a:lnTo>
                    <a:pt x="257" y="232"/>
                  </a:lnTo>
                  <a:lnTo>
                    <a:pt x="353" y="211"/>
                  </a:lnTo>
                  <a:lnTo>
                    <a:pt x="342" y="86"/>
                  </a:lnTo>
                  <a:lnTo>
                    <a:pt x="315" y="55"/>
                  </a:lnTo>
                  <a:lnTo>
                    <a:pt x="365" y="0"/>
                  </a:lnTo>
                  <a:lnTo>
                    <a:pt x="403" y="40"/>
                  </a:lnTo>
                  <a:lnTo>
                    <a:pt x="395" y="101"/>
                  </a:lnTo>
                  <a:lnTo>
                    <a:pt x="432" y="86"/>
                  </a:lnTo>
                  <a:lnTo>
                    <a:pt x="499" y="136"/>
                  </a:lnTo>
                  <a:lnTo>
                    <a:pt x="534" y="84"/>
                  </a:lnTo>
                  <a:lnTo>
                    <a:pt x="560" y="76"/>
                  </a:lnTo>
                  <a:lnTo>
                    <a:pt x="587" y="120"/>
                  </a:lnTo>
                  <a:lnTo>
                    <a:pt x="622" y="80"/>
                  </a:lnTo>
                  <a:lnTo>
                    <a:pt x="693" y="124"/>
                  </a:lnTo>
                  <a:lnTo>
                    <a:pt x="733" y="184"/>
                  </a:lnTo>
                  <a:lnTo>
                    <a:pt x="724" y="239"/>
                  </a:lnTo>
                  <a:lnTo>
                    <a:pt x="795" y="305"/>
                  </a:lnTo>
                  <a:lnTo>
                    <a:pt x="745" y="370"/>
                  </a:lnTo>
                  <a:lnTo>
                    <a:pt x="697" y="408"/>
                  </a:lnTo>
                  <a:lnTo>
                    <a:pt x="689" y="535"/>
                  </a:lnTo>
                  <a:lnTo>
                    <a:pt x="618" y="531"/>
                  </a:lnTo>
                  <a:lnTo>
                    <a:pt x="591" y="581"/>
                  </a:lnTo>
                  <a:lnTo>
                    <a:pt x="606" y="602"/>
                  </a:lnTo>
                  <a:lnTo>
                    <a:pt x="549" y="642"/>
                  </a:lnTo>
                  <a:lnTo>
                    <a:pt x="495" y="679"/>
                  </a:lnTo>
                  <a:lnTo>
                    <a:pt x="491" y="700"/>
                  </a:lnTo>
                  <a:lnTo>
                    <a:pt x="439" y="679"/>
                  </a:lnTo>
                  <a:lnTo>
                    <a:pt x="424" y="631"/>
                  </a:lnTo>
                  <a:lnTo>
                    <a:pt x="420" y="614"/>
                  </a:lnTo>
                  <a:lnTo>
                    <a:pt x="420" y="608"/>
                  </a:lnTo>
                  <a:lnTo>
                    <a:pt x="474" y="570"/>
                  </a:lnTo>
                  <a:lnTo>
                    <a:pt x="447" y="510"/>
                  </a:lnTo>
                  <a:lnTo>
                    <a:pt x="353" y="462"/>
                  </a:lnTo>
                  <a:lnTo>
                    <a:pt x="330" y="405"/>
                  </a:lnTo>
                  <a:lnTo>
                    <a:pt x="267" y="401"/>
                  </a:lnTo>
                  <a:lnTo>
                    <a:pt x="263" y="349"/>
                  </a:lnTo>
                  <a:lnTo>
                    <a:pt x="213" y="355"/>
                  </a:lnTo>
                  <a:lnTo>
                    <a:pt x="159" y="429"/>
                  </a:lnTo>
                  <a:lnTo>
                    <a:pt x="52" y="383"/>
                  </a:lnTo>
                  <a:lnTo>
                    <a:pt x="94" y="312"/>
                  </a:lnTo>
                  <a:lnTo>
                    <a:pt x="0" y="268"/>
                  </a:lnTo>
                  <a:close/>
                </a:path>
              </a:pathLst>
            </a:custGeom>
            <a:solidFill>
              <a:srgbClr val="92D050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04" name="Freeform 71"/>
            <p:cNvSpPr>
              <a:spLocks/>
            </p:cNvSpPr>
            <p:nvPr/>
          </p:nvSpPr>
          <p:spPr bwMode="gray">
            <a:xfrm>
              <a:off x="8709033" y="2907511"/>
              <a:ext cx="465138" cy="320675"/>
            </a:xfrm>
            <a:custGeom>
              <a:avLst/>
              <a:gdLst>
                <a:gd name="T0" fmla="*/ 0 w 695"/>
                <a:gd name="T1" fmla="*/ 14226 h 474"/>
                <a:gd name="T2" fmla="*/ 1341 w 695"/>
                <a:gd name="T3" fmla="*/ 8806 h 474"/>
                <a:gd name="T4" fmla="*/ 22125 w 695"/>
                <a:gd name="T5" fmla="*/ 0 h 474"/>
                <a:gd name="T6" fmla="*/ 33523 w 695"/>
                <a:gd name="T7" fmla="*/ 0 h 474"/>
                <a:gd name="T8" fmla="*/ 43580 w 695"/>
                <a:gd name="T9" fmla="*/ 10161 h 474"/>
                <a:gd name="T10" fmla="*/ 48944 w 695"/>
                <a:gd name="T11" fmla="*/ 4742 h 474"/>
                <a:gd name="T12" fmla="*/ 67047 w 695"/>
                <a:gd name="T13" fmla="*/ 8129 h 474"/>
                <a:gd name="T14" fmla="*/ 81126 w 695"/>
                <a:gd name="T15" fmla="*/ 10161 h 474"/>
                <a:gd name="T16" fmla="*/ 89172 w 695"/>
                <a:gd name="T17" fmla="*/ 4065 h 474"/>
                <a:gd name="T18" fmla="*/ 103922 w 695"/>
                <a:gd name="T19" fmla="*/ 6097 h 474"/>
                <a:gd name="T20" fmla="*/ 103922 w 695"/>
                <a:gd name="T21" fmla="*/ 17613 h 474"/>
                <a:gd name="T22" fmla="*/ 115991 w 695"/>
                <a:gd name="T23" fmla="*/ 22355 h 474"/>
                <a:gd name="T24" fmla="*/ 112638 w 695"/>
                <a:gd name="T25" fmla="*/ 35903 h 474"/>
                <a:gd name="T26" fmla="*/ 106604 w 695"/>
                <a:gd name="T27" fmla="*/ 33194 h 474"/>
                <a:gd name="T28" fmla="*/ 107275 w 695"/>
                <a:gd name="T29" fmla="*/ 46065 h 474"/>
                <a:gd name="T30" fmla="*/ 99899 w 695"/>
                <a:gd name="T31" fmla="*/ 47420 h 474"/>
                <a:gd name="T32" fmla="*/ 100570 w 695"/>
                <a:gd name="T33" fmla="*/ 53516 h 474"/>
                <a:gd name="T34" fmla="*/ 94536 w 695"/>
                <a:gd name="T35" fmla="*/ 54194 h 474"/>
                <a:gd name="T36" fmla="*/ 88502 w 695"/>
                <a:gd name="T37" fmla="*/ 65033 h 474"/>
                <a:gd name="T38" fmla="*/ 78445 w 695"/>
                <a:gd name="T39" fmla="*/ 65710 h 474"/>
                <a:gd name="T40" fmla="*/ 64365 w 695"/>
                <a:gd name="T41" fmla="*/ 80613 h 474"/>
                <a:gd name="T42" fmla="*/ 46262 w 695"/>
                <a:gd name="T43" fmla="*/ 64355 h 474"/>
                <a:gd name="T44" fmla="*/ 32182 w 695"/>
                <a:gd name="T45" fmla="*/ 73162 h 474"/>
                <a:gd name="T46" fmla="*/ 22796 w 695"/>
                <a:gd name="T47" fmla="*/ 54194 h 474"/>
                <a:gd name="T48" fmla="*/ 16762 w 695"/>
                <a:gd name="T49" fmla="*/ 38613 h 474"/>
                <a:gd name="T50" fmla="*/ 22125 w 695"/>
                <a:gd name="T51" fmla="*/ 37936 h 474"/>
                <a:gd name="T52" fmla="*/ 10727 w 695"/>
                <a:gd name="T53" fmla="*/ 18290 h 474"/>
                <a:gd name="T54" fmla="*/ 0 w 695"/>
                <a:gd name="T55" fmla="*/ 16258 h 474"/>
                <a:gd name="T56" fmla="*/ 0 w 695"/>
                <a:gd name="T57" fmla="*/ 14226 h 47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695"/>
                <a:gd name="T88" fmla="*/ 0 h 474"/>
                <a:gd name="T89" fmla="*/ 695 w 695"/>
                <a:gd name="T90" fmla="*/ 474 h 47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695" h="474">
                  <a:moveTo>
                    <a:pt x="2" y="84"/>
                  </a:moveTo>
                  <a:lnTo>
                    <a:pt x="11" y="52"/>
                  </a:lnTo>
                  <a:lnTo>
                    <a:pt x="134" y="0"/>
                  </a:lnTo>
                  <a:lnTo>
                    <a:pt x="203" y="0"/>
                  </a:lnTo>
                  <a:lnTo>
                    <a:pt x="263" y="59"/>
                  </a:lnTo>
                  <a:lnTo>
                    <a:pt x="295" y="29"/>
                  </a:lnTo>
                  <a:lnTo>
                    <a:pt x="401" y="48"/>
                  </a:lnTo>
                  <a:lnTo>
                    <a:pt x="485" y="59"/>
                  </a:lnTo>
                  <a:lnTo>
                    <a:pt x="535" y="21"/>
                  </a:lnTo>
                  <a:lnTo>
                    <a:pt x="622" y="36"/>
                  </a:lnTo>
                  <a:lnTo>
                    <a:pt x="622" y="102"/>
                  </a:lnTo>
                  <a:lnTo>
                    <a:pt x="695" y="132"/>
                  </a:lnTo>
                  <a:lnTo>
                    <a:pt x="675" y="211"/>
                  </a:lnTo>
                  <a:lnTo>
                    <a:pt x="637" y="196"/>
                  </a:lnTo>
                  <a:lnTo>
                    <a:pt x="641" y="269"/>
                  </a:lnTo>
                  <a:lnTo>
                    <a:pt x="599" y="280"/>
                  </a:lnTo>
                  <a:lnTo>
                    <a:pt x="602" y="315"/>
                  </a:lnTo>
                  <a:lnTo>
                    <a:pt x="566" y="320"/>
                  </a:lnTo>
                  <a:lnTo>
                    <a:pt x="531" y="382"/>
                  </a:lnTo>
                  <a:lnTo>
                    <a:pt x="470" y="388"/>
                  </a:lnTo>
                  <a:lnTo>
                    <a:pt x="387" y="474"/>
                  </a:lnTo>
                  <a:lnTo>
                    <a:pt x="278" y="380"/>
                  </a:lnTo>
                  <a:lnTo>
                    <a:pt x="195" y="432"/>
                  </a:lnTo>
                  <a:lnTo>
                    <a:pt x="138" y="318"/>
                  </a:lnTo>
                  <a:lnTo>
                    <a:pt x="101" y="226"/>
                  </a:lnTo>
                  <a:lnTo>
                    <a:pt x="132" y="224"/>
                  </a:lnTo>
                  <a:lnTo>
                    <a:pt x="67" y="107"/>
                  </a:lnTo>
                  <a:lnTo>
                    <a:pt x="0" y="94"/>
                  </a:lnTo>
                  <a:lnTo>
                    <a:pt x="2" y="84"/>
                  </a:lnTo>
                  <a:close/>
                </a:path>
              </a:pathLst>
            </a:custGeom>
            <a:solidFill>
              <a:srgbClr val="92D050"/>
            </a:solidFill>
            <a:ln w="9525">
              <a:solidFill>
                <a:srgbClr val="92D050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05" name="Freeform 72"/>
            <p:cNvSpPr>
              <a:spLocks/>
            </p:cNvSpPr>
            <p:nvPr/>
          </p:nvSpPr>
          <p:spPr bwMode="gray">
            <a:xfrm>
              <a:off x="8004183" y="3086792"/>
              <a:ext cx="412750" cy="387350"/>
            </a:xfrm>
            <a:custGeom>
              <a:avLst/>
              <a:gdLst>
                <a:gd name="T0" fmla="*/ 671 w 614"/>
                <a:gd name="T1" fmla="*/ 55549 h 572"/>
                <a:gd name="T2" fmla="*/ 8057 w 614"/>
                <a:gd name="T3" fmla="*/ 52162 h 572"/>
                <a:gd name="T4" fmla="*/ 39615 w 614"/>
                <a:gd name="T5" fmla="*/ 17613 h 572"/>
                <a:gd name="T6" fmla="*/ 40286 w 614"/>
                <a:gd name="T7" fmla="*/ 677 h 572"/>
                <a:gd name="T8" fmla="*/ 55058 w 614"/>
                <a:gd name="T9" fmla="*/ 0 h 572"/>
                <a:gd name="T10" fmla="*/ 66472 w 614"/>
                <a:gd name="T11" fmla="*/ 12871 h 572"/>
                <a:gd name="T12" fmla="*/ 91986 w 614"/>
                <a:gd name="T13" fmla="*/ 6774 h 572"/>
                <a:gd name="T14" fmla="*/ 91986 w 614"/>
                <a:gd name="T15" fmla="*/ 10161 h 572"/>
                <a:gd name="T16" fmla="*/ 100044 w 614"/>
                <a:gd name="T17" fmla="*/ 29129 h 572"/>
                <a:gd name="T18" fmla="*/ 96015 w 614"/>
                <a:gd name="T19" fmla="*/ 40645 h 572"/>
                <a:gd name="T20" fmla="*/ 103401 w 614"/>
                <a:gd name="T21" fmla="*/ 49452 h 572"/>
                <a:gd name="T22" fmla="*/ 73186 w 614"/>
                <a:gd name="T23" fmla="*/ 64355 h 572"/>
                <a:gd name="T24" fmla="*/ 72515 w 614"/>
                <a:gd name="T25" fmla="*/ 67065 h 572"/>
                <a:gd name="T26" fmla="*/ 74529 w 614"/>
                <a:gd name="T27" fmla="*/ 81968 h 572"/>
                <a:gd name="T28" fmla="*/ 54386 w 614"/>
                <a:gd name="T29" fmla="*/ 90097 h 572"/>
                <a:gd name="T30" fmla="*/ 49686 w 614"/>
                <a:gd name="T31" fmla="*/ 86033 h 572"/>
                <a:gd name="T32" fmla="*/ 47000 w 614"/>
                <a:gd name="T33" fmla="*/ 94839 h 572"/>
                <a:gd name="T34" fmla="*/ 40286 w 614"/>
                <a:gd name="T35" fmla="*/ 88065 h 572"/>
                <a:gd name="T36" fmla="*/ 30214 w 614"/>
                <a:gd name="T37" fmla="*/ 96872 h 572"/>
                <a:gd name="T38" fmla="*/ 24843 w 614"/>
                <a:gd name="T39" fmla="*/ 93484 h 572"/>
                <a:gd name="T40" fmla="*/ 25514 w 614"/>
                <a:gd name="T41" fmla="*/ 86710 h 572"/>
                <a:gd name="T42" fmla="*/ 17457 w 614"/>
                <a:gd name="T43" fmla="*/ 88742 h 572"/>
                <a:gd name="T44" fmla="*/ 7386 w 614"/>
                <a:gd name="T45" fmla="*/ 79936 h 572"/>
                <a:gd name="T46" fmla="*/ 12086 w 614"/>
                <a:gd name="T47" fmla="*/ 74517 h 572"/>
                <a:gd name="T48" fmla="*/ 6714 w 614"/>
                <a:gd name="T49" fmla="*/ 75871 h 572"/>
                <a:gd name="T50" fmla="*/ 0 w 614"/>
                <a:gd name="T51" fmla="*/ 56226 h 572"/>
                <a:gd name="T52" fmla="*/ 671 w 614"/>
                <a:gd name="T53" fmla="*/ 55549 h 57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14"/>
                <a:gd name="T82" fmla="*/ 0 h 572"/>
                <a:gd name="T83" fmla="*/ 614 w 614"/>
                <a:gd name="T84" fmla="*/ 572 h 572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14" h="572">
                  <a:moveTo>
                    <a:pt x="4" y="328"/>
                  </a:moveTo>
                  <a:lnTo>
                    <a:pt x="48" y="311"/>
                  </a:lnTo>
                  <a:lnTo>
                    <a:pt x="236" y="105"/>
                  </a:lnTo>
                  <a:lnTo>
                    <a:pt x="242" y="5"/>
                  </a:lnTo>
                  <a:lnTo>
                    <a:pt x="330" y="0"/>
                  </a:lnTo>
                  <a:lnTo>
                    <a:pt x="399" y="76"/>
                  </a:lnTo>
                  <a:lnTo>
                    <a:pt x="547" y="42"/>
                  </a:lnTo>
                  <a:lnTo>
                    <a:pt x="547" y="63"/>
                  </a:lnTo>
                  <a:lnTo>
                    <a:pt x="595" y="172"/>
                  </a:lnTo>
                  <a:lnTo>
                    <a:pt x="572" y="240"/>
                  </a:lnTo>
                  <a:lnTo>
                    <a:pt x="614" y="293"/>
                  </a:lnTo>
                  <a:lnTo>
                    <a:pt x="439" y="382"/>
                  </a:lnTo>
                  <a:lnTo>
                    <a:pt x="433" y="399"/>
                  </a:lnTo>
                  <a:lnTo>
                    <a:pt x="445" y="487"/>
                  </a:lnTo>
                  <a:lnTo>
                    <a:pt x="324" y="531"/>
                  </a:lnTo>
                  <a:lnTo>
                    <a:pt x="293" y="508"/>
                  </a:lnTo>
                  <a:lnTo>
                    <a:pt x="278" y="558"/>
                  </a:lnTo>
                  <a:lnTo>
                    <a:pt x="243" y="520"/>
                  </a:lnTo>
                  <a:lnTo>
                    <a:pt x="182" y="572"/>
                  </a:lnTo>
                  <a:lnTo>
                    <a:pt x="146" y="549"/>
                  </a:lnTo>
                  <a:lnTo>
                    <a:pt x="149" y="512"/>
                  </a:lnTo>
                  <a:lnTo>
                    <a:pt x="107" y="524"/>
                  </a:lnTo>
                  <a:lnTo>
                    <a:pt x="46" y="472"/>
                  </a:lnTo>
                  <a:lnTo>
                    <a:pt x="71" y="441"/>
                  </a:lnTo>
                  <a:lnTo>
                    <a:pt x="38" y="449"/>
                  </a:lnTo>
                  <a:lnTo>
                    <a:pt x="0" y="332"/>
                  </a:lnTo>
                  <a:lnTo>
                    <a:pt x="4" y="328"/>
                  </a:lnTo>
                  <a:close/>
                </a:path>
              </a:pathLst>
            </a:custGeom>
            <a:solidFill>
              <a:srgbClr val="92D050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06" name="Freeform 73"/>
            <p:cNvSpPr>
              <a:spLocks/>
            </p:cNvSpPr>
            <p:nvPr/>
          </p:nvSpPr>
          <p:spPr bwMode="gray">
            <a:xfrm>
              <a:off x="8674108" y="3123305"/>
              <a:ext cx="341313" cy="404812"/>
            </a:xfrm>
            <a:custGeom>
              <a:avLst/>
              <a:gdLst>
                <a:gd name="T0" fmla="*/ 670 w 509"/>
                <a:gd name="T1" fmla="*/ 36520 h 599"/>
                <a:gd name="T2" fmla="*/ 9382 w 509"/>
                <a:gd name="T3" fmla="*/ 10144 h 599"/>
                <a:gd name="T4" fmla="*/ 16753 w 509"/>
                <a:gd name="T5" fmla="*/ 12173 h 599"/>
                <a:gd name="T6" fmla="*/ 20773 w 509"/>
                <a:gd name="T7" fmla="*/ 3381 h 599"/>
                <a:gd name="T8" fmla="*/ 31495 w 509"/>
                <a:gd name="T9" fmla="*/ 0 h 599"/>
                <a:gd name="T10" fmla="*/ 40877 w 509"/>
                <a:gd name="T11" fmla="*/ 18936 h 599"/>
                <a:gd name="T12" fmla="*/ 54949 w 509"/>
                <a:gd name="T13" fmla="*/ 10144 h 599"/>
                <a:gd name="T14" fmla="*/ 73042 w 509"/>
                <a:gd name="T15" fmla="*/ 26375 h 599"/>
                <a:gd name="T16" fmla="*/ 73712 w 509"/>
                <a:gd name="T17" fmla="*/ 31109 h 599"/>
                <a:gd name="T18" fmla="*/ 81084 w 509"/>
                <a:gd name="T19" fmla="*/ 48017 h 599"/>
                <a:gd name="T20" fmla="*/ 85104 w 509"/>
                <a:gd name="T21" fmla="*/ 60190 h 599"/>
                <a:gd name="T22" fmla="*/ 75723 w 509"/>
                <a:gd name="T23" fmla="*/ 68982 h 599"/>
                <a:gd name="T24" fmla="*/ 81084 w 509"/>
                <a:gd name="T25" fmla="*/ 74392 h 599"/>
                <a:gd name="T26" fmla="*/ 82424 w 509"/>
                <a:gd name="T27" fmla="*/ 95357 h 599"/>
                <a:gd name="T28" fmla="*/ 67011 w 509"/>
                <a:gd name="T29" fmla="*/ 98739 h 599"/>
                <a:gd name="T30" fmla="*/ 57630 w 509"/>
                <a:gd name="T31" fmla="*/ 92652 h 599"/>
                <a:gd name="T32" fmla="*/ 54279 w 509"/>
                <a:gd name="T33" fmla="*/ 100091 h 599"/>
                <a:gd name="T34" fmla="*/ 46908 w 509"/>
                <a:gd name="T35" fmla="*/ 100768 h 599"/>
                <a:gd name="T36" fmla="*/ 32835 w 509"/>
                <a:gd name="T37" fmla="*/ 94005 h 599"/>
                <a:gd name="T38" fmla="*/ 18093 w 509"/>
                <a:gd name="T39" fmla="*/ 91976 h 599"/>
                <a:gd name="T40" fmla="*/ 19433 w 509"/>
                <a:gd name="T41" fmla="*/ 87242 h 599"/>
                <a:gd name="T42" fmla="*/ 10722 w 509"/>
                <a:gd name="T43" fmla="*/ 83860 h 599"/>
                <a:gd name="T44" fmla="*/ 12732 w 509"/>
                <a:gd name="T45" fmla="*/ 62895 h 599"/>
                <a:gd name="T46" fmla="*/ 0 w 509"/>
                <a:gd name="T47" fmla="*/ 37872 h 599"/>
                <a:gd name="T48" fmla="*/ 670 w 509"/>
                <a:gd name="T49" fmla="*/ 36520 h 59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09"/>
                <a:gd name="T76" fmla="*/ 0 h 599"/>
                <a:gd name="T77" fmla="*/ 509 w 509"/>
                <a:gd name="T78" fmla="*/ 599 h 59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09" h="599">
                  <a:moveTo>
                    <a:pt x="4" y="217"/>
                  </a:moveTo>
                  <a:lnTo>
                    <a:pt x="59" y="60"/>
                  </a:lnTo>
                  <a:lnTo>
                    <a:pt x="102" y="73"/>
                  </a:lnTo>
                  <a:lnTo>
                    <a:pt x="127" y="22"/>
                  </a:lnTo>
                  <a:lnTo>
                    <a:pt x="190" y="0"/>
                  </a:lnTo>
                  <a:lnTo>
                    <a:pt x="246" y="114"/>
                  </a:lnTo>
                  <a:lnTo>
                    <a:pt x="330" y="62"/>
                  </a:lnTo>
                  <a:lnTo>
                    <a:pt x="439" y="156"/>
                  </a:lnTo>
                  <a:lnTo>
                    <a:pt x="441" y="187"/>
                  </a:lnTo>
                  <a:lnTo>
                    <a:pt x="484" y="286"/>
                  </a:lnTo>
                  <a:lnTo>
                    <a:pt x="509" y="357"/>
                  </a:lnTo>
                  <a:lnTo>
                    <a:pt x="453" y="409"/>
                  </a:lnTo>
                  <a:lnTo>
                    <a:pt x="484" y="442"/>
                  </a:lnTo>
                  <a:lnTo>
                    <a:pt x="495" y="565"/>
                  </a:lnTo>
                  <a:lnTo>
                    <a:pt x="403" y="586"/>
                  </a:lnTo>
                  <a:lnTo>
                    <a:pt x="345" y="549"/>
                  </a:lnTo>
                  <a:lnTo>
                    <a:pt x="324" y="593"/>
                  </a:lnTo>
                  <a:lnTo>
                    <a:pt x="282" y="599"/>
                  </a:lnTo>
                  <a:lnTo>
                    <a:pt x="196" y="557"/>
                  </a:lnTo>
                  <a:lnTo>
                    <a:pt x="109" y="544"/>
                  </a:lnTo>
                  <a:lnTo>
                    <a:pt x="119" y="517"/>
                  </a:lnTo>
                  <a:lnTo>
                    <a:pt x="67" y="496"/>
                  </a:lnTo>
                  <a:lnTo>
                    <a:pt x="79" y="373"/>
                  </a:lnTo>
                  <a:lnTo>
                    <a:pt x="0" y="227"/>
                  </a:lnTo>
                  <a:lnTo>
                    <a:pt x="4" y="217"/>
                  </a:lnTo>
                  <a:close/>
                </a:path>
              </a:pathLst>
            </a:custGeom>
            <a:solidFill>
              <a:srgbClr val="92D050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07" name="Freeform 75"/>
            <p:cNvSpPr>
              <a:spLocks/>
            </p:cNvSpPr>
            <p:nvPr/>
          </p:nvSpPr>
          <p:spPr bwMode="gray">
            <a:xfrm>
              <a:off x="7916873" y="3386830"/>
              <a:ext cx="419101" cy="292100"/>
            </a:xfrm>
            <a:custGeom>
              <a:avLst/>
              <a:gdLst>
                <a:gd name="T0" fmla="*/ 0 w 624"/>
                <a:gd name="T1" fmla="*/ 34389 h 434"/>
                <a:gd name="T2" fmla="*/ 4685 w 624"/>
                <a:gd name="T3" fmla="*/ 27646 h 434"/>
                <a:gd name="T4" fmla="*/ 12047 w 624"/>
                <a:gd name="T5" fmla="*/ 29669 h 434"/>
                <a:gd name="T6" fmla="*/ 10039 w 624"/>
                <a:gd name="T7" fmla="*/ 24275 h 434"/>
                <a:gd name="T8" fmla="*/ 18071 w 624"/>
                <a:gd name="T9" fmla="*/ 12812 h 434"/>
                <a:gd name="T10" fmla="*/ 12047 w 624"/>
                <a:gd name="T11" fmla="*/ 8092 h 434"/>
                <a:gd name="T12" fmla="*/ 13386 w 624"/>
                <a:gd name="T13" fmla="*/ 1349 h 434"/>
                <a:gd name="T14" fmla="*/ 28110 w 624"/>
                <a:gd name="T15" fmla="*/ 1349 h 434"/>
                <a:gd name="T16" fmla="*/ 33464 w 624"/>
                <a:gd name="T17" fmla="*/ 0 h 434"/>
                <a:gd name="T18" fmla="*/ 29448 w 624"/>
                <a:gd name="T19" fmla="*/ 4720 h 434"/>
                <a:gd name="T20" fmla="*/ 40157 w 624"/>
                <a:gd name="T21" fmla="*/ 13486 h 434"/>
                <a:gd name="T22" fmla="*/ 46850 w 624"/>
                <a:gd name="T23" fmla="*/ 11463 h 434"/>
                <a:gd name="T24" fmla="*/ 46180 w 624"/>
                <a:gd name="T25" fmla="*/ 18206 h 434"/>
                <a:gd name="T26" fmla="*/ 52204 w 624"/>
                <a:gd name="T27" fmla="*/ 21578 h 434"/>
                <a:gd name="T28" fmla="*/ 61574 w 624"/>
                <a:gd name="T29" fmla="*/ 12812 h 434"/>
                <a:gd name="T30" fmla="*/ 67597 w 624"/>
                <a:gd name="T31" fmla="*/ 19555 h 434"/>
                <a:gd name="T32" fmla="*/ 70944 w 624"/>
                <a:gd name="T33" fmla="*/ 10789 h 434"/>
                <a:gd name="T34" fmla="*/ 75629 w 624"/>
                <a:gd name="T35" fmla="*/ 14835 h 434"/>
                <a:gd name="T36" fmla="*/ 96376 w 624"/>
                <a:gd name="T37" fmla="*/ 7417 h 434"/>
                <a:gd name="T38" fmla="*/ 95038 w 624"/>
                <a:gd name="T39" fmla="*/ 12812 h 434"/>
                <a:gd name="T40" fmla="*/ 103069 w 624"/>
                <a:gd name="T41" fmla="*/ 14835 h 434"/>
                <a:gd name="T42" fmla="*/ 96376 w 624"/>
                <a:gd name="T43" fmla="*/ 22252 h 434"/>
                <a:gd name="T44" fmla="*/ 103738 w 624"/>
                <a:gd name="T45" fmla="*/ 28321 h 434"/>
                <a:gd name="T46" fmla="*/ 98384 w 624"/>
                <a:gd name="T47" fmla="*/ 28321 h 434"/>
                <a:gd name="T48" fmla="*/ 87006 w 624"/>
                <a:gd name="T49" fmla="*/ 35738 h 434"/>
                <a:gd name="T50" fmla="*/ 76967 w 624"/>
                <a:gd name="T51" fmla="*/ 33715 h 434"/>
                <a:gd name="T52" fmla="*/ 80983 w 624"/>
                <a:gd name="T53" fmla="*/ 41132 h 434"/>
                <a:gd name="T54" fmla="*/ 73621 w 624"/>
                <a:gd name="T55" fmla="*/ 51247 h 434"/>
                <a:gd name="T56" fmla="*/ 66259 w 624"/>
                <a:gd name="T57" fmla="*/ 51921 h 434"/>
                <a:gd name="T58" fmla="*/ 66928 w 624"/>
                <a:gd name="T59" fmla="*/ 53270 h 434"/>
                <a:gd name="T60" fmla="*/ 68267 w 624"/>
                <a:gd name="T61" fmla="*/ 56641 h 434"/>
                <a:gd name="T62" fmla="*/ 51535 w 624"/>
                <a:gd name="T63" fmla="*/ 59339 h 434"/>
                <a:gd name="T64" fmla="*/ 46180 w 624"/>
                <a:gd name="T65" fmla="*/ 64059 h 434"/>
                <a:gd name="T66" fmla="*/ 51535 w 624"/>
                <a:gd name="T67" fmla="*/ 67430 h 434"/>
                <a:gd name="T68" fmla="*/ 39488 w 624"/>
                <a:gd name="T69" fmla="*/ 72825 h 434"/>
                <a:gd name="T70" fmla="*/ 33464 w 624"/>
                <a:gd name="T71" fmla="*/ 66756 h 434"/>
                <a:gd name="T72" fmla="*/ 16063 w 624"/>
                <a:gd name="T73" fmla="*/ 70127 h 434"/>
                <a:gd name="T74" fmla="*/ 12047 w 624"/>
                <a:gd name="T75" fmla="*/ 70127 h 434"/>
                <a:gd name="T76" fmla="*/ 11378 w 624"/>
                <a:gd name="T77" fmla="*/ 55293 h 434"/>
                <a:gd name="T78" fmla="*/ 669 w 624"/>
                <a:gd name="T79" fmla="*/ 51247 h 434"/>
                <a:gd name="T80" fmla="*/ 10708 w 624"/>
                <a:gd name="T81" fmla="*/ 39784 h 434"/>
                <a:gd name="T82" fmla="*/ 0 w 624"/>
                <a:gd name="T83" fmla="*/ 36412 h 434"/>
                <a:gd name="T84" fmla="*/ 0 w 624"/>
                <a:gd name="T85" fmla="*/ 34389 h 43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24"/>
                <a:gd name="T130" fmla="*/ 0 h 434"/>
                <a:gd name="T131" fmla="*/ 624 w 624"/>
                <a:gd name="T132" fmla="*/ 434 h 43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24" h="434">
                  <a:moveTo>
                    <a:pt x="2" y="204"/>
                  </a:moveTo>
                  <a:lnTo>
                    <a:pt x="29" y="167"/>
                  </a:lnTo>
                  <a:lnTo>
                    <a:pt x="73" y="177"/>
                  </a:lnTo>
                  <a:lnTo>
                    <a:pt x="60" y="144"/>
                  </a:lnTo>
                  <a:lnTo>
                    <a:pt x="110" y="79"/>
                  </a:lnTo>
                  <a:lnTo>
                    <a:pt x="73" y="48"/>
                  </a:lnTo>
                  <a:lnTo>
                    <a:pt x="83" y="8"/>
                  </a:lnTo>
                  <a:lnTo>
                    <a:pt x="169" y="8"/>
                  </a:lnTo>
                  <a:lnTo>
                    <a:pt x="202" y="0"/>
                  </a:lnTo>
                  <a:lnTo>
                    <a:pt x="177" y="31"/>
                  </a:lnTo>
                  <a:lnTo>
                    <a:pt x="240" y="83"/>
                  </a:lnTo>
                  <a:lnTo>
                    <a:pt x="282" y="69"/>
                  </a:lnTo>
                  <a:lnTo>
                    <a:pt x="278" y="110"/>
                  </a:lnTo>
                  <a:lnTo>
                    <a:pt x="315" y="131"/>
                  </a:lnTo>
                  <a:lnTo>
                    <a:pt x="371" y="79"/>
                  </a:lnTo>
                  <a:lnTo>
                    <a:pt x="407" y="117"/>
                  </a:lnTo>
                  <a:lnTo>
                    <a:pt x="426" y="67"/>
                  </a:lnTo>
                  <a:lnTo>
                    <a:pt x="455" y="88"/>
                  </a:lnTo>
                  <a:lnTo>
                    <a:pt x="578" y="46"/>
                  </a:lnTo>
                  <a:lnTo>
                    <a:pt x="572" y="79"/>
                  </a:lnTo>
                  <a:lnTo>
                    <a:pt x="620" y="90"/>
                  </a:lnTo>
                  <a:lnTo>
                    <a:pt x="578" y="134"/>
                  </a:lnTo>
                  <a:lnTo>
                    <a:pt x="624" y="171"/>
                  </a:lnTo>
                  <a:lnTo>
                    <a:pt x="591" y="169"/>
                  </a:lnTo>
                  <a:lnTo>
                    <a:pt x="524" y="215"/>
                  </a:lnTo>
                  <a:lnTo>
                    <a:pt x="463" y="200"/>
                  </a:lnTo>
                  <a:lnTo>
                    <a:pt x="486" y="246"/>
                  </a:lnTo>
                  <a:lnTo>
                    <a:pt x="444" y="307"/>
                  </a:lnTo>
                  <a:lnTo>
                    <a:pt x="399" y="309"/>
                  </a:lnTo>
                  <a:lnTo>
                    <a:pt x="401" y="317"/>
                  </a:lnTo>
                  <a:lnTo>
                    <a:pt x="411" y="338"/>
                  </a:lnTo>
                  <a:lnTo>
                    <a:pt x="311" y="353"/>
                  </a:lnTo>
                  <a:lnTo>
                    <a:pt x="277" y="382"/>
                  </a:lnTo>
                  <a:lnTo>
                    <a:pt x="309" y="403"/>
                  </a:lnTo>
                  <a:lnTo>
                    <a:pt x="236" y="434"/>
                  </a:lnTo>
                  <a:lnTo>
                    <a:pt x="202" y="397"/>
                  </a:lnTo>
                  <a:lnTo>
                    <a:pt x="98" y="417"/>
                  </a:lnTo>
                  <a:lnTo>
                    <a:pt x="75" y="417"/>
                  </a:lnTo>
                  <a:lnTo>
                    <a:pt x="71" y="330"/>
                  </a:lnTo>
                  <a:lnTo>
                    <a:pt x="4" y="307"/>
                  </a:lnTo>
                  <a:lnTo>
                    <a:pt x="67" y="240"/>
                  </a:lnTo>
                  <a:lnTo>
                    <a:pt x="0" y="219"/>
                  </a:lnTo>
                  <a:lnTo>
                    <a:pt x="2" y="204"/>
                  </a:lnTo>
                  <a:close/>
                </a:path>
              </a:pathLst>
            </a:custGeom>
            <a:solidFill>
              <a:srgbClr val="92D050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08" name="Freeform 90"/>
            <p:cNvSpPr>
              <a:spLocks/>
            </p:cNvSpPr>
            <p:nvPr/>
          </p:nvSpPr>
          <p:spPr bwMode="gray">
            <a:xfrm>
              <a:off x="8159763" y="2415386"/>
              <a:ext cx="396875" cy="377825"/>
            </a:xfrm>
            <a:custGeom>
              <a:avLst/>
              <a:gdLst>
                <a:gd name="T0" fmla="*/ 673 w 591"/>
                <a:gd name="T1" fmla="*/ 29129 h 558"/>
                <a:gd name="T2" fmla="*/ 9416 w 591"/>
                <a:gd name="T3" fmla="*/ 36581 h 558"/>
                <a:gd name="T4" fmla="*/ 14797 w 591"/>
                <a:gd name="T5" fmla="*/ 54871 h 558"/>
                <a:gd name="T6" fmla="*/ 9416 w 591"/>
                <a:gd name="T7" fmla="*/ 60291 h 558"/>
                <a:gd name="T8" fmla="*/ 19504 w 591"/>
                <a:gd name="T9" fmla="*/ 62323 h 558"/>
                <a:gd name="T10" fmla="*/ 18832 w 591"/>
                <a:gd name="T11" fmla="*/ 71129 h 558"/>
                <a:gd name="T12" fmla="*/ 30266 w 591"/>
                <a:gd name="T13" fmla="*/ 69775 h 558"/>
                <a:gd name="T14" fmla="*/ 39682 w 591"/>
                <a:gd name="T15" fmla="*/ 77904 h 558"/>
                <a:gd name="T16" fmla="*/ 40354 w 591"/>
                <a:gd name="T17" fmla="*/ 89420 h 558"/>
                <a:gd name="T18" fmla="*/ 53133 w 591"/>
                <a:gd name="T19" fmla="*/ 81291 h 558"/>
                <a:gd name="T20" fmla="*/ 70620 w 591"/>
                <a:gd name="T21" fmla="*/ 94839 h 558"/>
                <a:gd name="T22" fmla="*/ 89452 w 591"/>
                <a:gd name="T23" fmla="*/ 85355 h 558"/>
                <a:gd name="T24" fmla="*/ 80708 w 591"/>
                <a:gd name="T25" fmla="*/ 74517 h 558"/>
                <a:gd name="T26" fmla="*/ 82053 w 591"/>
                <a:gd name="T27" fmla="*/ 73162 h 558"/>
                <a:gd name="T28" fmla="*/ 99540 w 591"/>
                <a:gd name="T29" fmla="*/ 56904 h 558"/>
                <a:gd name="T30" fmla="*/ 95505 w 591"/>
                <a:gd name="T31" fmla="*/ 38613 h 558"/>
                <a:gd name="T32" fmla="*/ 89452 w 591"/>
                <a:gd name="T33" fmla="*/ 22355 h 558"/>
                <a:gd name="T34" fmla="*/ 75328 w 591"/>
                <a:gd name="T35" fmla="*/ 14226 h 558"/>
                <a:gd name="T36" fmla="*/ 73310 w 591"/>
                <a:gd name="T37" fmla="*/ 4065 h 558"/>
                <a:gd name="T38" fmla="*/ 63894 w 591"/>
                <a:gd name="T39" fmla="*/ 4065 h 558"/>
                <a:gd name="T40" fmla="*/ 34301 w 591"/>
                <a:gd name="T41" fmla="*/ 0 h 558"/>
                <a:gd name="T42" fmla="*/ 28248 w 591"/>
                <a:gd name="T43" fmla="*/ 7452 h 558"/>
                <a:gd name="T44" fmla="*/ 12106 w 591"/>
                <a:gd name="T45" fmla="*/ 2710 h 558"/>
                <a:gd name="T46" fmla="*/ 4035 w 591"/>
                <a:gd name="T47" fmla="*/ 11516 h 558"/>
                <a:gd name="T48" fmla="*/ 5381 w 591"/>
                <a:gd name="T49" fmla="*/ 20323 h 558"/>
                <a:gd name="T50" fmla="*/ 0 w 591"/>
                <a:gd name="T51" fmla="*/ 27097 h 558"/>
                <a:gd name="T52" fmla="*/ 673 w 591"/>
                <a:gd name="T53" fmla="*/ 29129 h 558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591"/>
                <a:gd name="T82" fmla="*/ 0 h 558"/>
                <a:gd name="T83" fmla="*/ 591 w 591"/>
                <a:gd name="T84" fmla="*/ 558 h 558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591" h="558">
                  <a:moveTo>
                    <a:pt x="4" y="174"/>
                  </a:moveTo>
                  <a:lnTo>
                    <a:pt x="54" y="216"/>
                  </a:lnTo>
                  <a:lnTo>
                    <a:pt x="88" y="324"/>
                  </a:lnTo>
                  <a:lnTo>
                    <a:pt x="54" y="356"/>
                  </a:lnTo>
                  <a:lnTo>
                    <a:pt x="115" y="368"/>
                  </a:lnTo>
                  <a:lnTo>
                    <a:pt x="109" y="422"/>
                  </a:lnTo>
                  <a:lnTo>
                    <a:pt x="180" y="414"/>
                  </a:lnTo>
                  <a:lnTo>
                    <a:pt x="236" y="462"/>
                  </a:lnTo>
                  <a:lnTo>
                    <a:pt x="240" y="527"/>
                  </a:lnTo>
                  <a:lnTo>
                    <a:pt x="315" y="483"/>
                  </a:lnTo>
                  <a:lnTo>
                    <a:pt x="420" y="558"/>
                  </a:lnTo>
                  <a:lnTo>
                    <a:pt x="530" y="506"/>
                  </a:lnTo>
                  <a:lnTo>
                    <a:pt x="480" y="443"/>
                  </a:lnTo>
                  <a:lnTo>
                    <a:pt x="488" y="433"/>
                  </a:lnTo>
                  <a:lnTo>
                    <a:pt x="591" y="339"/>
                  </a:lnTo>
                  <a:lnTo>
                    <a:pt x="568" y="228"/>
                  </a:lnTo>
                  <a:lnTo>
                    <a:pt x="532" y="130"/>
                  </a:lnTo>
                  <a:lnTo>
                    <a:pt x="445" y="84"/>
                  </a:lnTo>
                  <a:lnTo>
                    <a:pt x="434" y="26"/>
                  </a:lnTo>
                  <a:lnTo>
                    <a:pt x="380" y="24"/>
                  </a:lnTo>
                  <a:lnTo>
                    <a:pt x="203" y="0"/>
                  </a:lnTo>
                  <a:lnTo>
                    <a:pt x="167" y="44"/>
                  </a:lnTo>
                  <a:lnTo>
                    <a:pt x="69" y="19"/>
                  </a:lnTo>
                  <a:lnTo>
                    <a:pt x="21" y="67"/>
                  </a:lnTo>
                  <a:lnTo>
                    <a:pt x="29" y="122"/>
                  </a:lnTo>
                  <a:lnTo>
                    <a:pt x="0" y="161"/>
                  </a:lnTo>
                  <a:lnTo>
                    <a:pt x="4" y="174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09" name="Freeform 102"/>
            <p:cNvSpPr>
              <a:spLocks/>
            </p:cNvSpPr>
            <p:nvPr/>
          </p:nvSpPr>
          <p:spPr bwMode="gray">
            <a:xfrm>
              <a:off x="7908934" y="2435917"/>
              <a:ext cx="412750" cy="450850"/>
            </a:xfrm>
            <a:custGeom>
              <a:avLst/>
              <a:gdLst>
                <a:gd name="T0" fmla="*/ 1343 w 616"/>
                <a:gd name="T1" fmla="*/ 77904 h 666"/>
                <a:gd name="T2" fmla="*/ 7386 w 616"/>
                <a:gd name="T3" fmla="*/ 68420 h 666"/>
                <a:gd name="T4" fmla="*/ 12757 w 616"/>
                <a:gd name="T5" fmla="*/ 70452 h 666"/>
                <a:gd name="T6" fmla="*/ 15443 w 616"/>
                <a:gd name="T7" fmla="*/ 55549 h 666"/>
                <a:gd name="T8" fmla="*/ 26186 w 616"/>
                <a:gd name="T9" fmla="*/ 50129 h 666"/>
                <a:gd name="T10" fmla="*/ 16114 w 616"/>
                <a:gd name="T11" fmla="*/ 40645 h 666"/>
                <a:gd name="T12" fmla="*/ 16786 w 616"/>
                <a:gd name="T13" fmla="*/ 30484 h 666"/>
                <a:gd name="T14" fmla="*/ 16786 w 616"/>
                <a:gd name="T15" fmla="*/ 18968 h 666"/>
                <a:gd name="T16" fmla="*/ 47000 w 616"/>
                <a:gd name="T17" fmla="*/ 2032 h 666"/>
                <a:gd name="T18" fmla="*/ 61100 w 616"/>
                <a:gd name="T19" fmla="*/ 0 h 666"/>
                <a:gd name="T20" fmla="*/ 66472 w 616"/>
                <a:gd name="T21" fmla="*/ 6774 h 666"/>
                <a:gd name="T22" fmla="*/ 67143 w 616"/>
                <a:gd name="T23" fmla="*/ 15581 h 666"/>
                <a:gd name="T24" fmla="*/ 62443 w 616"/>
                <a:gd name="T25" fmla="*/ 22355 h 666"/>
                <a:gd name="T26" fmla="*/ 63115 w 616"/>
                <a:gd name="T27" fmla="*/ 24387 h 666"/>
                <a:gd name="T28" fmla="*/ 71172 w 616"/>
                <a:gd name="T29" fmla="*/ 31161 h 666"/>
                <a:gd name="T30" fmla="*/ 77215 w 616"/>
                <a:gd name="T31" fmla="*/ 50129 h 666"/>
                <a:gd name="T32" fmla="*/ 71843 w 616"/>
                <a:gd name="T33" fmla="*/ 55549 h 666"/>
                <a:gd name="T34" fmla="*/ 81915 w 616"/>
                <a:gd name="T35" fmla="*/ 56904 h 666"/>
                <a:gd name="T36" fmla="*/ 80572 w 616"/>
                <a:gd name="T37" fmla="*/ 65710 h 666"/>
                <a:gd name="T38" fmla="*/ 94000 w 616"/>
                <a:gd name="T39" fmla="*/ 65033 h 666"/>
                <a:gd name="T40" fmla="*/ 102058 w 616"/>
                <a:gd name="T41" fmla="*/ 72484 h 666"/>
                <a:gd name="T42" fmla="*/ 103401 w 616"/>
                <a:gd name="T43" fmla="*/ 84000 h 666"/>
                <a:gd name="T44" fmla="*/ 50357 w 616"/>
                <a:gd name="T45" fmla="*/ 113130 h 666"/>
                <a:gd name="T46" fmla="*/ 38943 w 616"/>
                <a:gd name="T47" fmla="*/ 107710 h 666"/>
                <a:gd name="T48" fmla="*/ 43643 w 616"/>
                <a:gd name="T49" fmla="*/ 103646 h 666"/>
                <a:gd name="T50" fmla="*/ 37600 w 616"/>
                <a:gd name="T51" fmla="*/ 102968 h 666"/>
                <a:gd name="T52" fmla="*/ 31557 w 616"/>
                <a:gd name="T53" fmla="*/ 93484 h 666"/>
                <a:gd name="T54" fmla="*/ 18800 w 616"/>
                <a:gd name="T55" fmla="*/ 91452 h 666"/>
                <a:gd name="T56" fmla="*/ 14100 w 616"/>
                <a:gd name="T57" fmla="*/ 96872 h 666"/>
                <a:gd name="T58" fmla="*/ 8729 w 616"/>
                <a:gd name="T59" fmla="*/ 83323 h 666"/>
                <a:gd name="T60" fmla="*/ 0 w 616"/>
                <a:gd name="T61" fmla="*/ 79936 h 666"/>
                <a:gd name="T62" fmla="*/ 1343 w 616"/>
                <a:gd name="T63" fmla="*/ 77904 h 66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16"/>
                <a:gd name="T97" fmla="*/ 0 h 666"/>
                <a:gd name="T98" fmla="*/ 616 w 616"/>
                <a:gd name="T99" fmla="*/ 666 h 66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16" h="666">
                  <a:moveTo>
                    <a:pt x="11" y="463"/>
                  </a:moveTo>
                  <a:lnTo>
                    <a:pt x="44" y="405"/>
                  </a:lnTo>
                  <a:lnTo>
                    <a:pt x="76" y="417"/>
                  </a:lnTo>
                  <a:lnTo>
                    <a:pt x="94" y="325"/>
                  </a:lnTo>
                  <a:lnTo>
                    <a:pt x="157" y="296"/>
                  </a:lnTo>
                  <a:lnTo>
                    <a:pt x="96" y="240"/>
                  </a:lnTo>
                  <a:lnTo>
                    <a:pt x="103" y="183"/>
                  </a:lnTo>
                  <a:lnTo>
                    <a:pt x="100" y="113"/>
                  </a:lnTo>
                  <a:lnTo>
                    <a:pt x="280" y="12"/>
                  </a:lnTo>
                  <a:lnTo>
                    <a:pt x="364" y="0"/>
                  </a:lnTo>
                  <a:lnTo>
                    <a:pt x="397" y="37"/>
                  </a:lnTo>
                  <a:lnTo>
                    <a:pt x="401" y="92"/>
                  </a:lnTo>
                  <a:lnTo>
                    <a:pt x="372" y="131"/>
                  </a:lnTo>
                  <a:lnTo>
                    <a:pt x="376" y="144"/>
                  </a:lnTo>
                  <a:lnTo>
                    <a:pt x="426" y="186"/>
                  </a:lnTo>
                  <a:lnTo>
                    <a:pt x="462" y="294"/>
                  </a:lnTo>
                  <a:lnTo>
                    <a:pt x="428" y="326"/>
                  </a:lnTo>
                  <a:lnTo>
                    <a:pt x="489" y="338"/>
                  </a:lnTo>
                  <a:lnTo>
                    <a:pt x="483" y="390"/>
                  </a:lnTo>
                  <a:lnTo>
                    <a:pt x="560" y="384"/>
                  </a:lnTo>
                  <a:lnTo>
                    <a:pt x="608" y="428"/>
                  </a:lnTo>
                  <a:lnTo>
                    <a:pt x="616" y="497"/>
                  </a:lnTo>
                  <a:lnTo>
                    <a:pt x="299" y="666"/>
                  </a:lnTo>
                  <a:lnTo>
                    <a:pt x="232" y="635"/>
                  </a:lnTo>
                  <a:lnTo>
                    <a:pt x="259" y="609"/>
                  </a:lnTo>
                  <a:lnTo>
                    <a:pt x="224" y="607"/>
                  </a:lnTo>
                  <a:lnTo>
                    <a:pt x="190" y="551"/>
                  </a:lnTo>
                  <a:lnTo>
                    <a:pt x="115" y="540"/>
                  </a:lnTo>
                  <a:lnTo>
                    <a:pt x="86" y="570"/>
                  </a:lnTo>
                  <a:lnTo>
                    <a:pt x="55" y="493"/>
                  </a:lnTo>
                  <a:lnTo>
                    <a:pt x="0" y="474"/>
                  </a:lnTo>
                  <a:lnTo>
                    <a:pt x="11" y="463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10" name="Freeform 48"/>
            <p:cNvSpPr>
              <a:spLocks/>
            </p:cNvSpPr>
            <p:nvPr/>
          </p:nvSpPr>
          <p:spPr bwMode="gray">
            <a:xfrm>
              <a:off x="8448684" y="2258223"/>
              <a:ext cx="558800" cy="404813"/>
            </a:xfrm>
            <a:custGeom>
              <a:avLst/>
              <a:gdLst>
                <a:gd name="T0" fmla="*/ 671 w 835"/>
                <a:gd name="T1" fmla="*/ 44635 h 599"/>
                <a:gd name="T2" fmla="*/ 2012 w 835"/>
                <a:gd name="T3" fmla="*/ 52751 h 599"/>
                <a:gd name="T4" fmla="*/ 16766 w 835"/>
                <a:gd name="T5" fmla="*/ 60866 h 599"/>
                <a:gd name="T6" fmla="*/ 23472 w 835"/>
                <a:gd name="T7" fmla="*/ 77097 h 599"/>
                <a:gd name="T8" fmla="*/ 28166 w 835"/>
                <a:gd name="T9" fmla="*/ 79802 h 599"/>
                <a:gd name="T10" fmla="*/ 36214 w 835"/>
                <a:gd name="T11" fmla="*/ 67629 h 599"/>
                <a:gd name="T12" fmla="*/ 42250 w 835"/>
                <a:gd name="T13" fmla="*/ 70334 h 599"/>
                <a:gd name="T14" fmla="*/ 44261 w 835"/>
                <a:gd name="T15" fmla="*/ 65600 h 599"/>
                <a:gd name="T16" fmla="*/ 52309 w 835"/>
                <a:gd name="T17" fmla="*/ 64248 h 599"/>
                <a:gd name="T18" fmla="*/ 55662 w 835"/>
                <a:gd name="T19" fmla="*/ 79126 h 599"/>
                <a:gd name="T20" fmla="*/ 72428 w 835"/>
                <a:gd name="T21" fmla="*/ 85889 h 599"/>
                <a:gd name="T22" fmla="*/ 95229 w 835"/>
                <a:gd name="T23" fmla="*/ 85889 h 599"/>
                <a:gd name="T24" fmla="*/ 96570 w 835"/>
                <a:gd name="T25" fmla="*/ 92652 h 599"/>
                <a:gd name="T26" fmla="*/ 105289 w 835"/>
                <a:gd name="T27" fmla="*/ 91976 h 599"/>
                <a:gd name="T28" fmla="*/ 114007 w 835"/>
                <a:gd name="T29" fmla="*/ 100768 h 599"/>
                <a:gd name="T30" fmla="*/ 114677 w 835"/>
                <a:gd name="T31" fmla="*/ 100768 h 599"/>
                <a:gd name="T32" fmla="*/ 125407 w 835"/>
                <a:gd name="T33" fmla="*/ 95357 h 599"/>
                <a:gd name="T34" fmla="*/ 121384 w 835"/>
                <a:gd name="T35" fmla="*/ 67629 h 599"/>
                <a:gd name="T36" fmla="*/ 131443 w 835"/>
                <a:gd name="T37" fmla="*/ 61543 h 599"/>
                <a:gd name="T38" fmla="*/ 139491 w 835"/>
                <a:gd name="T39" fmla="*/ 56132 h 599"/>
                <a:gd name="T40" fmla="*/ 139491 w 835"/>
                <a:gd name="T41" fmla="*/ 41930 h 599"/>
                <a:gd name="T42" fmla="*/ 118701 w 835"/>
                <a:gd name="T43" fmla="*/ 30433 h 599"/>
                <a:gd name="T44" fmla="*/ 108642 w 835"/>
                <a:gd name="T45" fmla="*/ 6763 h 599"/>
                <a:gd name="T46" fmla="*/ 109312 w 835"/>
                <a:gd name="T47" fmla="*/ 6087 h 599"/>
                <a:gd name="T48" fmla="*/ 95900 w 835"/>
                <a:gd name="T49" fmla="*/ 17584 h 599"/>
                <a:gd name="T50" fmla="*/ 90535 w 835"/>
                <a:gd name="T51" fmla="*/ 9468 h 599"/>
                <a:gd name="T52" fmla="*/ 74440 w 835"/>
                <a:gd name="T53" fmla="*/ 13526 h 599"/>
                <a:gd name="T54" fmla="*/ 60356 w 835"/>
                <a:gd name="T55" fmla="*/ 0 h 599"/>
                <a:gd name="T56" fmla="*/ 51638 w 835"/>
                <a:gd name="T57" fmla="*/ 676 h 599"/>
                <a:gd name="T58" fmla="*/ 46944 w 835"/>
                <a:gd name="T59" fmla="*/ 8116 h 599"/>
                <a:gd name="T60" fmla="*/ 34873 w 835"/>
                <a:gd name="T61" fmla="*/ 6763 h 599"/>
                <a:gd name="T62" fmla="*/ 24813 w 835"/>
                <a:gd name="T63" fmla="*/ 15555 h 599"/>
                <a:gd name="T64" fmla="*/ 27496 w 835"/>
                <a:gd name="T65" fmla="*/ 28404 h 599"/>
                <a:gd name="T66" fmla="*/ 8048 w 835"/>
                <a:gd name="T67" fmla="*/ 32462 h 599"/>
                <a:gd name="T68" fmla="*/ 0 w 835"/>
                <a:gd name="T69" fmla="*/ 43283 h 599"/>
                <a:gd name="T70" fmla="*/ 671 w 835"/>
                <a:gd name="T71" fmla="*/ 44635 h 59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35"/>
                <a:gd name="T109" fmla="*/ 0 h 599"/>
                <a:gd name="T110" fmla="*/ 835 w 835"/>
                <a:gd name="T111" fmla="*/ 599 h 59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35" h="599">
                  <a:moveTo>
                    <a:pt x="6" y="267"/>
                  </a:moveTo>
                  <a:lnTo>
                    <a:pt x="15" y="315"/>
                  </a:lnTo>
                  <a:lnTo>
                    <a:pt x="102" y="363"/>
                  </a:lnTo>
                  <a:lnTo>
                    <a:pt x="140" y="457"/>
                  </a:lnTo>
                  <a:lnTo>
                    <a:pt x="169" y="472"/>
                  </a:lnTo>
                  <a:lnTo>
                    <a:pt x="219" y="403"/>
                  </a:lnTo>
                  <a:lnTo>
                    <a:pt x="255" y="417"/>
                  </a:lnTo>
                  <a:lnTo>
                    <a:pt x="265" y="388"/>
                  </a:lnTo>
                  <a:lnTo>
                    <a:pt x="313" y="382"/>
                  </a:lnTo>
                  <a:lnTo>
                    <a:pt x="334" y="469"/>
                  </a:lnTo>
                  <a:lnTo>
                    <a:pt x="434" y="511"/>
                  </a:lnTo>
                  <a:lnTo>
                    <a:pt x="568" y="511"/>
                  </a:lnTo>
                  <a:lnTo>
                    <a:pt x="578" y="549"/>
                  </a:lnTo>
                  <a:lnTo>
                    <a:pt x="631" y="545"/>
                  </a:lnTo>
                  <a:lnTo>
                    <a:pt x="681" y="599"/>
                  </a:lnTo>
                  <a:lnTo>
                    <a:pt x="687" y="599"/>
                  </a:lnTo>
                  <a:lnTo>
                    <a:pt x="750" y="565"/>
                  </a:lnTo>
                  <a:lnTo>
                    <a:pt x="726" y="400"/>
                  </a:lnTo>
                  <a:lnTo>
                    <a:pt x="785" y="365"/>
                  </a:lnTo>
                  <a:lnTo>
                    <a:pt x="835" y="332"/>
                  </a:lnTo>
                  <a:lnTo>
                    <a:pt x="835" y="250"/>
                  </a:lnTo>
                  <a:lnTo>
                    <a:pt x="708" y="181"/>
                  </a:lnTo>
                  <a:lnTo>
                    <a:pt x="651" y="41"/>
                  </a:lnTo>
                  <a:lnTo>
                    <a:pt x="654" y="37"/>
                  </a:lnTo>
                  <a:lnTo>
                    <a:pt x="574" y="106"/>
                  </a:lnTo>
                  <a:lnTo>
                    <a:pt x="543" y="56"/>
                  </a:lnTo>
                  <a:lnTo>
                    <a:pt x="447" y="83"/>
                  </a:lnTo>
                  <a:lnTo>
                    <a:pt x="363" y="0"/>
                  </a:lnTo>
                  <a:lnTo>
                    <a:pt x="309" y="6"/>
                  </a:lnTo>
                  <a:lnTo>
                    <a:pt x="282" y="48"/>
                  </a:lnTo>
                  <a:lnTo>
                    <a:pt x="211" y="41"/>
                  </a:lnTo>
                  <a:lnTo>
                    <a:pt x="148" y="94"/>
                  </a:lnTo>
                  <a:lnTo>
                    <a:pt x="167" y="171"/>
                  </a:lnTo>
                  <a:lnTo>
                    <a:pt x="50" y="192"/>
                  </a:lnTo>
                  <a:lnTo>
                    <a:pt x="0" y="259"/>
                  </a:lnTo>
                  <a:lnTo>
                    <a:pt x="6" y="267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11" name="Freeform 32"/>
            <p:cNvSpPr>
              <a:spLocks/>
            </p:cNvSpPr>
            <p:nvPr/>
          </p:nvSpPr>
          <p:spPr bwMode="gray">
            <a:xfrm>
              <a:off x="9025003" y="1677093"/>
              <a:ext cx="465137" cy="530225"/>
            </a:xfrm>
            <a:custGeom>
              <a:avLst/>
              <a:gdLst>
                <a:gd name="T0" fmla="*/ 2682 w 693"/>
                <a:gd name="T1" fmla="*/ 81864 h 785"/>
                <a:gd name="T2" fmla="*/ 5364 w 693"/>
                <a:gd name="T3" fmla="*/ 92689 h 785"/>
                <a:gd name="T4" fmla="*/ 13409 w 693"/>
                <a:gd name="T5" fmla="*/ 96748 h 785"/>
                <a:gd name="T6" fmla="*/ 11398 w 693"/>
                <a:gd name="T7" fmla="*/ 102837 h 785"/>
                <a:gd name="T8" fmla="*/ 39557 w 693"/>
                <a:gd name="T9" fmla="*/ 118398 h 785"/>
                <a:gd name="T10" fmla="*/ 49614 w 693"/>
                <a:gd name="T11" fmla="*/ 132606 h 785"/>
                <a:gd name="T12" fmla="*/ 68387 w 693"/>
                <a:gd name="T13" fmla="*/ 124487 h 785"/>
                <a:gd name="T14" fmla="*/ 95206 w 693"/>
                <a:gd name="T15" fmla="*/ 122457 h 785"/>
                <a:gd name="T16" fmla="*/ 109956 w 693"/>
                <a:gd name="T17" fmla="*/ 102161 h 785"/>
                <a:gd name="T18" fmla="*/ 115990 w 693"/>
                <a:gd name="T19" fmla="*/ 83893 h 785"/>
                <a:gd name="T20" fmla="*/ 113308 w 693"/>
                <a:gd name="T21" fmla="*/ 73745 h 785"/>
                <a:gd name="T22" fmla="*/ 103922 w 693"/>
                <a:gd name="T23" fmla="*/ 64950 h 785"/>
                <a:gd name="T24" fmla="*/ 112638 w 693"/>
                <a:gd name="T25" fmla="*/ 57508 h 785"/>
                <a:gd name="T26" fmla="*/ 111967 w 693"/>
                <a:gd name="T27" fmla="*/ 48712 h 785"/>
                <a:gd name="T28" fmla="*/ 103251 w 693"/>
                <a:gd name="T29" fmla="*/ 48036 h 785"/>
                <a:gd name="T30" fmla="*/ 93865 w 693"/>
                <a:gd name="T31" fmla="*/ 51419 h 785"/>
                <a:gd name="T32" fmla="*/ 87160 w 693"/>
                <a:gd name="T33" fmla="*/ 39241 h 785"/>
                <a:gd name="T34" fmla="*/ 83137 w 693"/>
                <a:gd name="T35" fmla="*/ 43300 h 785"/>
                <a:gd name="T36" fmla="*/ 75762 w 693"/>
                <a:gd name="T37" fmla="*/ 35858 h 785"/>
                <a:gd name="T38" fmla="*/ 69728 w 693"/>
                <a:gd name="T39" fmla="*/ 37887 h 785"/>
                <a:gd name="T40" fmla="*/ 67046 w 693"/>
                <a:gd name="T41" fmla="*/ 28416 h 785"/>
                <a:gd name="T42" fmla="*/ 72410 w 693"/>
                <a:gd name="T43" fmla="*/ 23680 h 785"/>
                <a:gd name="T44" fmla="*/ 65035 w 693"/>
                <a:gd name="T45" fmla="*/ 11502 h 785"/>
                <a:gd name="T46" fmla="*/ 59671 w 693"/>
                <a:gd name="T47" fmla="*/ 12855 h 785"/>
                <a:gd name="T48" fmla="*/ 57660 w 693"/>
                <a:gd name="T49" fmla="*/ 3383 h 785"/>
                <a:gd name="T50" fmla="*/ 49614 w 693"/>
                <a:gd name="T51" fmla="*/ 0 h 785"/>
                <a:gd name="T52" fmla="*/ 40228 w 693"/>
                <a:gd name="T53" fmla="*/ 0 h 785"/>
                <a:gd name="T54" fmla="*/ 37546 w 693"/>
                <a:gd name="T55" fmla="*/ 6089 h 785"/>
                <a:gd name="T56" fmla="*/ 18773 w 693"/>
                <a:gd name="T57" fmla="*/ 7442 h 785"/>
                <a:gd name="T58" fmla="*/ 17432 w 693"/>
                <a:gd name="T59" fmla="*/ 11502 h 785"/>
                <a:gd name="T60" fmla="*/ 14080 w 693"/>
                <a:gd name="T61" fmla="*/ 17591 h 785"/>
                <a:gd name="T62" fmla="*/ 18773 w 693"/>
                <a:gd name="T63" fmla="*/ 20297 h 785"/>
                <a:gd name="T64" fmla="*/ 20784 w 693"/>
                <a:gd name="T65" fmla="*/ 31122 h 785"/>
                <a:gd name="T66" fmla="*/ 12739 w 693"/>
                <a:gd name="T67" fmla="*/ 35858 h 785"/>
                <a:gd name="T68" fmla="*/ 16762 w 693"/>
                <a:gd name="T69" fmla="*/ 40594 h 785"/>
                <a:gd name="T70" fmla="*/ 11398 w 693"/>
                <a:gd name="T71" fmla="*/ 41270 h 785"/>
                <a:gd name="T72" fmla="*/ 0 w 693"/>
                <a:gd name="T73" fmla="*/ 73069 h 785"/>
                <a:gd name="T74" fmla="*/ 2682 w 693"/>
                <a:gd name="T75" fmla="*/ 81864 h 78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693"/>
                <a:gd name="T115" fmla="*/ 0 h 785"/>
                <a:gd name="T116" fmla="*/ 693 w 693"/>
                <a:gd name="T117" fmla="*/ 785 h 78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693" h="785">
                  <a:moveTo>
                    <a:pt x="17" y="486"/>
                  </a:moveTo>
                  <a:lnTo>
                    <a:pt x="34" y="549"/>
                  </a:lnTo>
                  <a:lnTo>
                    <a:pt x="80" y="574"/>
                  </a:lnTo>
                  <a:lnTo>
                    <a:pt x="69" y="609"/>
                  </a:lnTo>
                  <a:lnTo>
                    <a:pt x="236" y="703"/>
                  </a:lnTo>
                  <a:lnTo>
                    <a:pt x="299" y="785"/>
                  </a:lnTo>
                  <a:lnTo>
                    <a:pt x="409" y="736"/>
                  </a:lnTo>
                  <a:lnTo>
                    <a:pt x="570" y="726"/>
                  </a:lnTo>
                  <a:lnTo>
                    <a:pt x="658" y="605"/>
                  </a:lnTo>
                  <a:lnTo>
                    <a:pt x="693" y="496"/>
                  </a:lnTo>
                  <a:lnTo>
                    <a:pt x="679" y="436"/>
                  </a:lnTo>
                  <a:lnTo>
                    <a:pt x="622" y="384"/>
                  </a:lnTo>
                  <a:lnTo>
                    <a:pt x="672" y="340"/>
                  </a:lnTo>
                  <a:lnTo>
                    <a:pt x="670" y="290"/>
                  </a:lnTo>
                  <a:lnTo>
                    <a:pt x="618" y="286"/>
                  </a:lnTo>
                  <a:lnTo>
                    <a:pt x="562" y="306"/>
                  </a:lnTo>
                  <a:lnTo>
                    <a:pt x="522" y="235"/>
                  </a:lnTo>
                  <a:lnTo>
                    <a:pt x="497" y="258"/>
                  </a:lnTo>
                  <a:lnTo>
                    <a:pt x="453" y="215"/>
                  </a:lnTo>
                  <a:lnTo>
                    <a:pt x="418" y="225"/>
                  </a:lnTo>
                  <a:lnTo>
                    <a:pt x="401" y="169"/>
                  </a:lnTo>
                  <a:lnTo>
                    <a:pt x="434" y="142"/>
                  </a:lnTo>
                  <a:lnTo>
                    <a:pt x="390" y="71"/>
                  </a:lnTo>
                  <a:lnTo>
                    <a:pt x="357" y="77"/>
                  </a:lnTo>
                  <a:lnTo>
                    <a:pt x="345" y="22"/>
                  </a:lnTo>
                  <a:lnTo>
                    <a:pt x="299" y="2"/>
                  </a:lnTo>
                  <a:lnTo>
                    <a:pt x="242" y="0"/>
                  </a:lnTo>
                  <a:lnTo>
                    <a:pt x="226" y="37"/>
                  </a:lnTo>
                  <a:lnTo>
                    <a:pt x="115" y="47"/>
                  </a:lnTo>
                  <a:lnTo>
                    <a:pt x="104" y="71"/>
                  </a:lnTo>
                  <a:lnTo>
                    <a:pt x="84" y="106"/>
                  </a:lnTo>
                  <a:lnTo>
                    <a:pt x="115" y="121"/>
                  </a:lnTo>
                  <a:lnTo>
                    <a:pt x="127" y="187"/>
                  </a:lnTo>
                  <a:lnTo>
                    <a:pt x="77" y="212"/>
                  </a:lnTo>
                  <a:lnTo>
                    <a:pt x="100" y="240"/>
                  </a:lnTo>
                  <a:lnTo>
                    <a:pt x="71" y="246"/>
                  </a:lnTo>
                  <a:lnTo>
                    <a:pt x="0" y="432"/>
                  </a:lnTo>
                  <a:lnTo>
                    <a:pt x="17" y="486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12" name="Freeform 43"/>
            <p:cNvSpPr>
              <a:spLocks/>
            </p:cNvSpPr>
            <p:nvPr/>
          </p:nvSpPr>
          <p:spPr bwMode="gray">
            <a:xfrm>
              <a:off x="8883658" y="2088266"/>
              <a:ext cx="593725" cy="471487"/>
            </a:xfrm>
            <a:custGeom>
              <a:avLst/>
              <a:gdLst>
                <a:gd name="T0" fmla="*/ 1344 w 883"/>
                <a:gd name="T1" fmla="*/ 48775 h 696"/>
                <a:gd name="T2" fmla="*/ 16133 w 883"/>
                <a:gd name="T3" fmla="*/ 53516 h 696"/>
                <a:gd name="T4" fmla="*/ 36298 w 883"/>
                <a:gd name="T5" fmla="*/ 42678 h 696"/>
                <a:gd name="T6" fmla="*/ 38315 w 883"/>
                <a:gd name="T7" fmla="*/ 34549 h 696"/>
                <a:gd name="T8" fmla="*/ 30249 w 883"/>
                <a:gd name="T9" fmla="*/ 21000 h 696"/>
                <a:gd name="T10" fmla="*/ 36971 w 883"/>
                <a:gd name="T11" fmla="*/ 12194 h 696"/>
                <a:gd name="T12" fmla="*/ 34282 w 883"/>
                <a:gd name="T13" fmla="*/ 5419 h 696"/>
                <a:gd name="T14" fmla="*/ 40332 w 883"/>
                <a:gd name="T15" fmla="*/ 3387 h 696"/>
                <a:gd name="T16" fmla="*/ 45037 w 883"/>
                <a:gd name="T17" fmla="*/ 677 h 696"/>
                <a:gd name="T18" fmla="*/ 47053 w 883"/>
                <a:gd name="T19" fmla="*/ 0 h 696"/>
                <a:gd name="T20" fmla="*/ 75286 w 883"/>
                <a:gd name="T21" fmla="*/ 15581 h 696"/>
                <a:gd name="T22" fmla="*/ 86041 w 883"/>
                <a:gd name="T23" fmla="*/ 29807 h 696"/>
                <a:gd name="T24" fmla="*/ 104190 w 883"/>
                <a:gd name="T25" fmla="*/ 21678 h 696"/>
                <a:gd name="T26" fmla="*/ 131750 w 883"/>
                <a:gd name="T27" fmla="*/ 19645 h 696"/>
                <a:gd name="T28" fmla="*/ 131750 w 883"/>
                <a:gd name="T29" fmla="*/ 23032 h 696"/>
                <a:gd name="T30" fmla="*/ 133094 w 883"/>
                <a:gd name="T31" fmla="*/ 25065 h 696"/>
                <a:gd name="T32" fmla="*/ 148555 w 883"/>
                <a:gd name="T33" fmla="*/ 33194 h 696"/>
                <a:gd name="T34" fmla="*/ 137799 w 883"/>
                <a:gd name="T35" fmla="*/ 39968 h 696"/>
                <a:gd name="T36" fmla="*/ 147210 w 883"/>
                <a:gd name="T37" fmla="*/ 58936 h 696"/>
                <a:gd name="T38" fmla="*/ 141160 w 883"/>
                <a:gd name="T39" fmla="*/ 68420 h 696"/>
                <a:gd name="T40" fmla="*/ 145866 w 883"/>
                <a:gd name="T41" fmla="*/ 77904 h 696"/>
                <a:gd name="T42" fmla="*/ 137127 w 883"/>
                <a:gd name="T43" fmla="*/ 81968 h 696"/>
                <a:gd name="T44" fmla="*/ 125700 w 883"/>
                <a:gd name="T45" fmla="*/ 73839 h 696"/>
                <a:gd name="T46" fmla="*/ 116962 w 883"/>
                <a:gd name="T47" fmla="*/ 78581 h 696"/>
                <a:gd name="T48" fmla="*/ 106879 w 883"/>
                <a:gd name="T49" fmla="*/ 74517 h 696"/>
                <a:gd name="T50" fmla="*/ 94779 w 883"/>
                <a:gd name="T51" fmla="*/ 115162 h 696"/>
                <a:gd name="T52" fmla="*/ 90074 w 883"/>
                <a:gd name="T53" fmla="*/ 114485 h 696"/>
                <a:gd name="T54" fmla="*/ 86713 w 883"/>
                <a:gd name="T55" fmla="*/ 100259 h 696"/>
                <a:gd name="T56" fmla="*/ 81335 w 883"/>
                <a:gd name="T57" fmla="*/ 105001 h 696"/>
                <a:gd name="T58" fmla="*/ 65875 w 883"/>
                <a:gd name="T59" fmla="*/ 100936 h 696"/>
                <a:gd name="T60" fmla="*/ 62514 w 883"/>
                <a:gd name="T61" fmla="*/ 110420 h 696"/>
                <a:gd name="T62" fmla="*/ 54448 w 883"/>
                <a:gd name="T63" fmla="*/ 117872 h 696"/>
                <a:gd name="T64" fmla="*/ 39659 w 883"/>
                <a:gd name="T65" fmla="*/ 113130 h 696"/>
                <a:gd name="T66" fmla="*/ 29576 w 883"/>
                <a:gd name="T67" fmla="*/ 117194 h 696"/>
                <a:gd name="T68" fmla="*/ 22182 w 883"/>
                <a:gd name="T69" fmla="*/ 111775 h 696"/>
                <a:gd name="T70" fmla="*/ 22855 w 883"/>
                <a:gd name="T71" fmla="*/ 104323 h 696"/>
                <a:gd name="T72" fmla="*/ 30921 w 883"/>
                <a:gd name="T73" fmla="*/ 98904 h 696"/>
                <a:gd name="T74" fmla="*/ 30921 w 883"/>
                <a:gd name="T75" fmla="*/ 84001 h 696"/>
                <a:gd name="T76" fmla="*/ 10083 w 883"/>
                <a:gd name="T77" fmla="*/ 73162 h 696"/>
                <a:gd name="T78" fmla="*/ 0 w 883"/>
                <a:gd name="T79" fmla="*/ 49452 h 696"/>
                <a:gd name="T80" fmla="*/ 1344 w 883"/>
                <a:gd name="T81" fmla="*/ 48775 h 69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883"/>
                <a:gd name="T124" fmla="*/ 0 h 696"/>
                <a:gd name="T125" fmla="*/ 883 w 883"/>
                <a:gd name="T126" fmla="*/ 696 h 69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883" h="696">
                  <a:moveTo>
                    <a:pt x="5" y="286"/>
                  </a:moveTo>
                  <a:lnTo>
                    <a:pt x="94" y="316"/>
                  </a:lnTo>
                  <a:lnTo>
                    <a:pt x="213" y="255"/>
                  </a:lnTo>
                  <a:lnTo>
                    <a:pt x="228" y="207"/>
                  </a:lnTo>
                  <a:lnTo>
                    <a:pt x="178" y="125"/>
                  </a:lnTo>
                  <a:lnTo>
                    <a:pt x="217" y="71"/>
                  </a:lnTo>
                  <a:lnTo>
                    <a:pt x="203" y="32"/>
                  </a:lnTo>
                  <a:lnTo>
                    <a:pt x="240" y="23"/>
                  </a:lnTo>
                  <a:lnTo>
                    <a:pt x="265" y="4"/>
                  </a:lnTo>
                  <a:lnTo>
                    <a:pt x="280" y="0"/>
                  </a:lnTo>
                  <a:lnTo>
                    <a:pt x="445" y="94"/>
                  </a:lnTo>
                  <a:lnTo>
                    <a:pt x="510" y="176"/>
                  </a:lnTo>
                  <a:lnTo>
                    <a:pt x="618" y="128"/>
                  </a:lnTo>
                  <a:lnTo>
                    <a:pt x="781" y="117"/>
                  </a:lnTo>
                  <a:lnTo>
                    <a:pt x="783" y="136"/>
                  </a:lnTo>
                  <a:lnTo>
                    <a:pt x="792" y="146"/>
                  </a:lnTo>
                  <a:lnTo>
                    <a:pt x="883" y="199"/>
                  </a:lnTo>
                  <a:lnTo>
                    <a:pt x="817" y="236"/>
                  </a:lnTo>
                  <a:lnTo>
                    <a:pt x="875" y="351"/>
                  </a:lnTo>
                  <a:lnTo>
                    <a:pt x="840" y="405"/>
                  </a:lnTo>
                  <a:lnTo>
                    <a:pt x="865" y="460"/>
                  </a:lnTo>
                  <a:lnTo>
                    <a:pt x="815" y="485"/>
                  </a:lnTo>
                  <a:lnTo>
                    <a:pt x="746" y="439"/>
                  </a:lnTo>
                  <a:lnTo>
                    <a:pt x="693" y="464"/>
                  </a:lnTo>
                  <a:lnTo>
                    <a:pt x="633" y="441"/>
                  </a:lnTo>
                  <a:lnTo>
                    <a:pt x="562" y="677"/>
                  </a:lnTo>
                  <a:lnTo>
                    <a:pt x="535" y="673"/>
                  </a:lnTo>
                  <a:lnTo>
                    <a:pt x="514" y="591"/>
                  </a:lnTo>
                  <a:lnTo>
                    <a:pt x="483" y="618"/>
                  </a:lnTo>
                  <a:lnTo>
                    <a:pt x="391" y="595"/>
                  </a:lnTo>
                  <a:lnTo>
                    <a:pt x="372" y="650"/>
                  </a:lnTo>
                  <a:lnTo>
                    <a:pt x="324" y="696"/>
                  </a:lnTo>
                  <a:lnTo>
                    <a:pt x="236" y="668"/>
                  </a:lnTo>
                  <a:lnTo>
                    <a:pt x="176" y="689"/>
                  </a:lnTo>
                  <a:lnTo>
                    <a:pt x="132" y="658"/>
                  </a:lnTo>
                  <a:lnTo>
                    <a:pt x="134" y="616"/>
                  </a:lnTo>
                  <a:lnTo>
                    <a:pt x="184" y="581"/>
                  </a:lnTo>
                  <a:lnTo>
                    <a:pt x="184" y="499"/>
                  </a:lnTo>
                  <a:lnTo>
                    <a:pt x="57" y="432"/>
                  </a:lnTo>
                  <a:lnTo>
                    <a:pt x="0" y="290"/>
                  </a:lnTo>
                  <a:lnTo>
                    <a:pt x="5" y="286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13" name="Freeform 38"/>
            <p:cNvSpPr>
              <a:spLocks/>
            </p:cNvSpPr>
            <p:nvPr/>
          </p:nvSpPr>
          <p:spPr bwMode="gray">
            <a:xfrm>
              <a:off x="8639184" y="1886654"/>
              <a:ext cx="438150" cy="441325"/>
            </a:xfrm>
            <a:custGeom>
              <a:avLst/>
              <a:gdLst>
                <a:gd name="T0" fmla="*/ 670 w 655"/>
                <a:gd name="T1" fmla="*/ 3382 h 653"/>
                <a:gd name="T2" fmla="*/ 9386 w 655"/>
                <a:gd name="T3" fmla="*/ 2029 h 653"/>
                <a:gd name="T4" fmla="*/ 20112 w 655"/>
                <a:gd name="T5" fmla="*/ 0 h 653"/>
                <a:gd name="T6" fmla="*/ 26816 w 655"/>
                <a:gd name="T7" fmla="*/ 6764 h 653"/>
                <a:gd name="T8" fmla="*/ 39554 w 655"/>
                <a:gd name="T9" fmla="*/ 13528 h 653"/>
                <a:gd name="T10" fmla="*/ 42906 w 655"/>
                <a:gd name="T11" fmla="*/ 8793 h 653"/>
                <a:gd name="T12" fmla="*/ 50951 w 655"/>
                <a:gd name="T13" fmla="*/ 10146 h 653"/>
                <a:gd name="T14" fmla="*/ 50951 w 655"/>
                <a:gd name="T15" fmla="*/ 2706 h 653"/>
                <a:gd name="T16" fmla="*/ 69722 w 655"/>
                <a:gd name="T17" fmla="*/ 21644 h 653"/>
                <a:gd name="T18" fmla="*/ 77097 w 655"/>
                <a:gd name="T19" fmla="*/ 23674 h 653"/>
                <a:gd name="T20" fmla="*/ 81790 w 655"/>
                <a:gd name="T21" fmla="*/ 19615 h 653"/>
                <a:gd name="T22" fmla="*/ 80449 w 655"/>
                <a:gd name="T23" fmla="*/ 24350 h 653"/>
                <a:gd name="T24" fmla="*/ 87823 w 655"/>
                <a:gd name="T25" fmla="*/ 22997 h 653"/>
                <a:gd name="T26" fmla="*/ 91175 w 655"/>
                <a:gd name="T27" fmla="*/ 31790 h 653"/>
                <a:gd name="T28" fmla="*/ 99220 w 655"/>
                <a:gd name="T29" fmla="*/ 27732 h 653"/>
                <a:gd name="T30" fmla="*/ 101902 w 655"/>
                <a:gd name="T31" fmla="*/ 39907 h 653"/>
                <a:gd name="T32" fmla="*/ 109276 w 655"/>
                <a:gd name="T33" fmla="*/ 43965 h 653"/>
                <a:gd name="T34" fmla="*/ 107936 w 655"/>
                <a:gd name="T35" fmla="*/ 50053 h 653"/>
                <a:gd name="T36" fmla="*/ 105924 w 655"/>
                <a:gd name="T37" fmla="*/ 50729 h 653"/>
                <a:gd name="T38" fmla="*/ 104584 w 655"/>
                <a:gd name="T39" fmla="*/ 52758 h 653"/>
                <a:gd name="T40" fmla="*/ 100561 w 655"/>
                <a:gd name="T41" fmla="*/ 54111 h 653"/>
                <a:gd name="T42" fmla="*/ 95198 w 655"/>
                <a:gd name="T43" fmla="*/ 55464 h 653"/>
                <a:gd name="T44" fmla="*/ 97880 w 655"/>
                <a:gd name="T45" fmla="*/ 62228 h 653"/>
                <a:gd name="T46" fmla="*/ 91175 w 655"/>
                <a:gd name="T47" fmla="*/ 71021 h 653"/>
                <a:gd name="T48" fmla="*/ 99220 w 655"/>
                <a:gd name="T49" fmla="*/ 85225 h 653"/>
                <a:gd name="T50" fmla="*/ 97209 w 655"/>
                <a:gd name="T51" fmla="*/ 92665 h 653"/>
                <a:gd name="T52" fmla="*/ 77097 w 655"/>
                <a:gd name="T53" fmla="*/ 103487 h 653"/>
                <a:gd name="T54" fmla="*/ 61677 w 655"/>
                <a:gd name="T55" fmla="*/ 98752 h 653"/>
                <a:gd name="T56" fmla="*/ 48269 w 655"/>
                <a:gd name="T57" fmla="*/ 110251 h 653"/>
                <a:gd name="T58" fmla="*/ 42906 w 655"/>
                <a:gd name="T59" fmla="*/ 101458 h 653"/>
                <a:gd name="T60" fmla="*/ 27487 w 655"/>
                <a:gd name="T61" fmla="*/ 106869 h 653"/>
                <a:gd name="T62" fmla="*/ 13408 w 655"/>
                <a:gd name="T63" fmla="*/ 93341 h 653"/>
                <a:gd name="T64" fmla="*/ 17431 w 655"/>
                <a:gd name="T65" fmla="*/ 64933 h 653"/>
                <a:gd name="T66" fmla="*/ 10056 w 655"/>
                <a:gd name="T67" fmla="*/ 38554 h 653"/>
                <a:gd name="T68" fmla="*/ 1341 w 655"/>
                <a:gd name="T69" fmla="*/ 29761 h 653"/>
                <a:gd name="T70" fmla="*/ 6704 w 655"/>
                <a:gd name="T71" fmla="*/ 17586 h 653"/>
                <a:gd name="T72" fmla="*/ 2011 w 655"/>
                <a:gd name="T73" fmla="*/ 6764 h 653"/>
                <a:gd name="T74" fmla="*/ 0 w 655"/>
                <a:gd name="T75" fmla="*/ 4058 h 653"/>
                <a:gd name="T76" fmla="*/ 670 w 655"/>
                <a:gd name="T77" fmla="*/ 3382 h 65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655"/>
                <a:gd name="T118" fmla="*/ 0 h 653"/>
                <a:gd name="T119" fmla="*/ 655 w 655"/>
                <a:gd name="T120" fmla="*/ 653 h 65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655" h="653">
                  <a:moveTo>
                    <a:pt x="4" y="23"/>
                  </a:moveTo>
                  <a:lnTo>
                    <a:pt x="56" y="12"/>
                  </a:lnTo>
                  <a:lnTo>
                    <a:pt x="123" y="0"/>
                  </a:lnTo>
                  <a:lnTo>
                    <a:pt x="161" y="43"/>
                  </a:lnTo>
                  <a:lnTo>
                    <a:pt x="236" y="81"/>
                  </a:lnTo>
                  <a:lnTo>
                    <a:pt x="257" y="54"/>
                  </a:lnTo>
                  <a:lnTo>
                    <a:pt x="305" y="60"/>
                  </a:lnTo>
                  <a:lnTo>
                    <a:pt x="305" y="16"/>
                  </a:lnTo>
                  <a:lnTo>
                    <a:pt x="418" y="131"/>
                  </a:lnTo>
                  <a:lnTo>
                    <a:pt x="463" y="140"/>
                  </a:lnTo>
                  <a:lnTo>
                    <a:pt x="488" y="116"/>
                  </a:lnTo>
                  <a:lnTo>
                    <a:pt x="482" y="146"/>
                  </a:lnTo>
                  <a:lnTo>
                    <a:pt x="526" y="139"/>
                  </a:lnTo>
                  <a:lnTo>
                    <a:pt x="547" y="190"/>
                  </a:lnTo>
                  <a:lnTo>
                    <a:pt x="593" y="164"/>
                  </a:lnTo>
                  <a:lnTo>
                    <a:pt x="609" y="238"/>
                  </a:lnTo>
                  <a:lnTo>
                    <a:pt x="655" y="263"/>
                  </a:lnTo>
                  <a:lnTo>
                    <a:pt x="645" y="298"/>
                  </a:lnTo>
                  <a:lnTo>
                    <a:pt x="632" y="302"/>
                  </a:lnTo>
                  <a:lnTo>
                    <a:pt x="626" y="315"/>
                  </a:lnTo>
                  <a:lnTo>
                    <a:pt x="603" y="321"/>
                  </a:lnTo>
                  <a:lnTo>
                    <a:pt x="570" y="329"/>
                  </a:lnTo>
                  <a:lnTo>
                    <a:pt x="584" y="369"/>
                  </a:lnTo>
                  <a:lnTo>
                    <a:pt x="545" y="423"/>
                  </a:lnTo>
                  <a:lnTo>
                    <a:pt x="595" y="505"/>
                  </a:lnTo>
                  <a:lnTo>
                    <a:pt x="580" y="551"/>
                  </a:lnTo>
                  <a:lnTo>
                    <a:pt x="461" y="614"/>
                  </a:lnTo>
                  <a:lnTo>
                    <a:pt x="370" y="584"/>
                  </a:lnTo>
                  <a:lnTo>
                    <a:pt x="290" y="653"/>
                  </a:lnTo>
                  <a:lnTo>
                    <a:pt x="257" y="603"/>
                  </a:lnTo>
                  <a:lnTo>
                    <a:pt x="167" y="632"/>
                  </a:lnTo>
                  <a:lnTo>
                    <a:pt x="83" y="553"/>
                  </a:lnTo>
                  <a:lnTo>
                    <a:pt x="106" y="386"/>
                  </a:lnTo>
                  <a:lnTo>
                    <a:pt x="61" y="229"/>
                  </a:lnTo>
                  <a:lnTo>
                    <a:pt x="8" y="177"/>
                  </a:lnTo>
                  <a:lnTo>
                    <a:pt x="42" y="106"/>
                  </a:lnTo>
                  <a:lnTo>
                    <a:pt x="12" y="43"/>
                  </a:lnTo>
                  <a:lnTo>
                    <a:pt x="0" y="25"/>
                  </a:lnTo>
                  <a:lnTo>
                    <a:pt x="4" y="23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14" name="Freeform 51"/>
            <p:cNvSpPr>
              <a:spLocks/>
            </p:cNvSpPr>
            <p:nvPr/>
          </p:nvSpPr>
          <p:spPr bwMode="gray">
            <a:xfrm>
              <a:off x="8909116" y="2504180"/>
              <a:ext cx="352425" cy="493712"/>
            </a:xfrm>
            <a:custGeom>
              <a:avLst/>
              <a:gdLst>
                <a:gd name="T0" fmla="*/ 671 w 526"/>
                <a:gd name="T1" fmla="*/ 40023 h 727"/>
                <a:gd name="T2" fmla="*/ 10743 w 526"/>
                <a:gd name="T3" fmla="*/ 33918 h 727"/>
                <a:gd name="T4" fmla="*/ 6714 w 526"/>
                <a:gd name="T5" fmla="*/ 6105 h 727"/>
                <a:gd name="T6" fmla="*/ 17457 w 526"/>
                <a:gd name="T7" fmla="*/ 0 h 727"/>
                <a:gd name="T8" fmla="*/ 16114 w 526"/>
                <a:gd name="T9" fmla="*/ 7462 h 727"/>
                <a:gd name="T10" fmla="*/ 23500 w 526"/>
                <a:gd name="T11" fmla="*/ 12889 h 727"/>
                <a:gd name="T12" fmla="*/ 33572 w 526"/>
                <a:gd name="T13" fmla="*/ 9497 h 727"/>
                <a:gd name="T14" fmla="*/ 47672 w 526"/>
                <a:gd name="T15" fmla="*/ 14245 h 727"/>
                <a:gd name="T16" fmla="*/ 56400 w 526"/>
                <a:gd name="T17" fmla="*/ 6105 h 727"/>
                <a:gd name="T18" fmla="*/ 60429 w 526"/>
                <a:gd name="T19" fmla="*/ 12889 h 727"/>
                <a:gd name="T20" fmla="*/ 50357 w 526"/>
                <a:gd name="T21" fmla="*/ 16959 h 727"/>
                <a:gd name="T22" fmla="*/ 45657 w 526"/>
                <a:gd name="T23" fmla="*/ 27134 h 727"/>
                <a:gd name="T24" fmla="*/ 50357 w 526"/>
                <a:gd name="T25" fmla="*/ 31204 h 727"/>
                <a:gd name="T26" fmla="*/ 45657 w 526"/>
                <a:gd name="T27" fmla="*/ 33239 h 727"/>
                <a:gd name="T28" fmla="*/ 45657 w 526"/>
                <a:gd name="T29" fmla="*/ 34596 h 727"/>
                <a:gd name="T30" fmla="*/ 57743 w 526"/>
                <a:gd name="T31" fmla="*/ 49520 h 727"/>
                <a:gd name="T32" fmla="*/ 55729 w 526"/>
                <a:gd name="T33" fmla="*/ 71227 h 727"/>
                <a:gd name="T34" fmla="*/ 63786 w 526"/>
                <a:gd name="T35" fmla="*/ 81403 h 727"/>
                <a:gd name="T36" fmla="*/ 81915 w 526"/>
                <a:gd name="T37" fmla="*/ 84116 h 727"/>
                <a:gd name="T38" fmla="*/ 80572 w 526"/>
                <a:gd name="T39" fmla="*/ 91578 h 727"/>
                <a:gd name="T40" fmla="*/ 88629 w 526"/>
                <a:gd name="T41" fmla="*/ 96327 h 727"/>
                <a:gd name="T42" fmla="*/ 87286 w 526"/>
                <a:gd name="T43" fmla="*/ 103110 h 727"/>
                <a:gd name="T44" fmla="*/ 87958 w 526"/>
                <a:gd name="T45" fmla="*/ 107180 h 727"/>
                <a:gd name="T46" fmla="*/ 76543 w 526"/>
                <a:gd name="T47" fmla="*/ 113964 h 727"/>
                <a:gd name="T48" fmla="*/ 74529 w 526"/>
                <a:gd name="T49" fmla="*/ 121426 h 727"/>
                <a:gd name="T50" fmla="*/ 65800 w 526"/>
                <a:gd name="T51" fmla="*/ 123461 h 727"/>
                <a:gd name="T52" fmla="*/ 54386 w 526"/>
                <a:gd name="T53" fmla="*/ 118712 h 727"/>
                <a:gd name="T54" fmla="*/ 53715 w 526"/>
                <a:gd name="T55" fmla="*/ 107180 h 727"/>
                <a:gd name="T56" fmla="*/ 39614 w 526"/>
                <a:gd name="T57" fmla="*/ 105145 h 727"/>
                <a:gd name="T58" fmla="*/ 30886 w 526"/>
                <a:gd name="T59" fmla="*/ 111250 h 727"/>
                <a:gd name="T60" fmla="*/ 17457 w 526"/>
                <a:gd name="T61" fmla="*/ 109215 h 727"/>
                <a:gd name="T62" fmla="*/ 24172 w 526"/>
                <a:gd name="T63" fmla="*/ 92935 h 727"/>
                <a:gd name="T64" fmla="*/ 671 w 526"/>
                <a:gd name="T65" fmla="*/ 57660 h 727"/>
                <a:gd name="T66" fmla="*/ 5371 w 526"/>
                <a:gd name="T67" fmla="*/ 46128 h 727"/>
                <a:gd name="T68" fmla="*/ 0 w 526"/>
                <a:gd name="T69" fmla="*/ 40701 h 727"/>
                <a:gd name="T70" fmla="*/ 671 w 526"/>
                <a:gd name="T71" fmla="*/ 40023 h 72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26"/>
                <a:gd name="T109" fmla="*/ 0 h 727"/>
                <a:gd name="T110" fmla="*/ 526 w 526"/>
                <a:gd name="T111" fmla="*/ 727 h 72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26" h="727">
                  <a:moveTo>
                    <a:pt x="2" y="234"/>
                  </a:moveTo>
                  <a:lnTo>
                    <a:pt x="64" y="200"/>
                  </a:lnTo>
                  <a:lnTo>
                    <a:pt x="42" y="36"/>
                  </a:lnTo>
                  <a:lnTo>
                    <a:pt x="104" y="0"/>
                  </a:lnTo>
                  <a:lnTo>
                    <a:pt x="98" y="44"/>
                  </a:lnTo>
                  <a:lnTo>
                    <a:pt x="142" y="75"/>
                  </a:lnTo>
                  <a:lnTo>
                    <a:pt x="200" y="54"/>
                  </a:lnTo>
                  <a:lnTo>
                    <a:pt x="286" y="82"/>
                  </a:lnTo>
                  <a:lnTo>
                    <a:pt x="336" y="36"/>
                  </a:lnTo>
                  <a:lnTo>
                    <a:pt x="363" y="73"/>
                  </a:lnTo>
                  <a:lnTo>
                    <a:pt x="302" y="100"/>
                  </a:lnTo>
                  <a:lnTo>
                    <a:pt x="273" y="159"/>
                  </a:lnTo>
                  <a:lnTo>
                    <a:pt x="300" y="184"/>
                  </a:lnTo>
                  <a:lnTo>
                    <a:pt x="273" y="196"/>
                  </a:lnTo>
                  <a:lnTo>
                    <a:pt x="273" y="201"/>
                  </a:lnTo>
                  <a:lnTo>
                    <a:pt x="344" y="290"/>
                  </a:lnTo>
                  <a:lnTo>
                    <a:pt x="332" y="420"/>
                  </a:lnTo>
                  <a:lnTo>
                    <a:pt x="382" y="478"/>
                  </a:lnTo>
                  <a:lnTo>
                    <a:pt x="488" y="495"/>
                  </a:lnTo>
                  <a:lnTo>
                    <a:pt x="480" y="539"/>
                  </a:lnTo>
                  <a:lnTo>
                    <a:pt x="526" y="566"/>
                  </a:lnTo>
                  <a:lnTo>
                    <a:pt x="518" y="606"/>
                  </a:lnTo>
                  <a:lnTo>
                    <a:pt x="524" y="631"/>
                  </a:lnTo>
                  <a:lnTo>
                    <a:pt x="457" y="672"/>
                  </a:lnTo>
                  <a:lnTo>
                    <a:pt x="444" y="716"/>
                  </a:lnTo>
                  <a:lnTo>
                    <a:pt x="394" y="727"/>
                  </a:lnTo>
                  <a:lnTo>
                    <a:pt x="327" y="697"/>
                  </a:lnTo>
                  <a:lnTo>
                    <a:pt x="321" y="631"/>
                  </a:lnTo>
                  <a:lnTo>
                    <a:pt x="238" y="618"/>
                  </a:lnTo>
                  <a:lnTo>
                    <a:pt x="186" y="654"/>
                  </a:lnTo>
                  <a:lnTo>
                    <a:pt x="104" y="643"/>
                  </a:lnTo>
                  <a:lnTo>
                    <a:pt x="146" y="547"/>
                  </a:lnTo>
                  <a:lnTo>
                    <a:pt x="2" y="338"/>
                  </a:lnTo>
                  <a:lnTo>
                    <a:pt x="33" y="271"/>
                  </a:lnTo>
                  <a:lnTo>
                    <a:pt x="0" y="240"/>
                  </a:lnTo>
                  <a:lnTo>
                    <a:pt x="2" y="234"/>
                  </a:lnTo>
                  <a:close/>
                </a:path>
              </a:pathLst>
            </a:custGeom>
            <a:solidFill>
              <a:srgbClr val="92D05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15" name="Oval 243"/>
            <p:cNvSpPr>
              <a:spLocks noChangeArrowheads="1"/>
            </p:cNvSpPr>
            <p:nvPr/>
          </p:nvSpPr>
          <p:spPr bwMode="auto">
            <a:xfrm>
              <a:off x="8283640" y="1742180"/>
              <a:ext cx="187325" cy="184150"/>
            </a:xfrm>
            <a:prstGeom prst="ellipse">
              <a:avLst/>
            </a:prstGeom>
            <a:solidFill>
              <a:srgbClr val="4D4D4D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r>
                <a:rPr lang="en-US" sz="1100" b="1" dirty="0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1A</a:t>
              </a:r>
            </a:p>
          </p:txBody>
        </p:sp>
        <p:sp>
          <p:nvSpPr>
            <p:cNvPr id="218" name="Freeform 52"/>
            <p:cNvSpPr>
              <a:spLocks/>
            </p:cNvSpPr>
            <p:nvPr/>
          </p:nvSpPr>
          <p:spPr bwMode="gray">
            <a:xfrm>
              <a:off x="8482078" y="2516986"/>
              <a:ext cx="523875" cy="454025"/>
            </a:xfrm>
            <a:custGeom>
              <a:avLst/>
              <a:gdLst>
                <a:gd name="T0" fmla="*/ 2689 w 781"/>
                <a:gd name="T1" fmla="*/ 47279 h 672"/>
                <a:gd name="T2" fmla="*/ 19496 w 781"/>
                <a:gd name="T3" fmla="*/ 32420 h 672"/>
                <a:gd name="T4" fmla="*/ 14790 w 781"/>
                <a:gd name="T5" fmla="*/ 12157 h 672"/>
                <a:gd name="T6" fmla="*/ 20169 w 781"/>
                <a:gd name="T7" fmla="*/ 14859 h 672"/>
                <a:gd name="T8" fmla="*/ 28909 w 781"/>
                <a:gd name="T9" fmla="*/ 3377 h 672"/>
                <a:gd name="T10" fmla="*/ 34959 w 781"/>
                <a:gd name="T11" fmla="*/ 5403 h 672"/>
                <a:gd name="T12" fmla="*/ 36304 w 781"/>
                <a:gd name="T13" fmla="*/ 675 h 672"/>
                <a:gd name="T14" fmla="*/ 44371 w 781"/>
                <a:gd name="T15" fmla="*/ 0 h 672"/>
                <a:gd name="T16" fmla="*/ 47733 w 781"/>
                <a:gd name="T17" fmla="*/ 14184 h 672"/>
                <a:gd name="T18" fmla="*/ 65212 w 781"/>
                <a:gd name="T19" fmla="*/ 21613 h 672"/>
                <a:gd name="T20" fmla="*/ 87398 w 781"/>
                <a:gd name="T21" fmla="*/ 21613 h 672"/>
                <a:gd name="T22" fmla="*/ 88743 w 781"/>
                <a:gd name="T23" fmla="*/ 28367 h 672"/>
                <a:gd name="T24" fmla="*/ 98155 w 781"/>
                <a:gd name="T25" fmla="*/ 27016 h 672"/>
                <a:gd name="T26" fmla="*/ 106894 w 781"/>
                <a:gd name="T27" fmla="*/ 37147 h 672"/>
                <a:gd name="T28" fmla="*/ 112273 w 781"/>
                <a:gd name="T29" fmla="*/ 42551 h 672"/>
                <a:gd name="T30" fmla="*/ 107567 w 781"/>
                <a:gd name="T31" fmla="*/ 54033 h 672"/>
                <a:gd name="T32" fmla="*/ 131769 w 781"/>
                <a:gd name="T33" fmla="*/ 89154 h 672"/>
                <a:gd name="T34" fmla="*/ 124374 w 781"/>
                <a:gd name="T35" fmla="*/ 105364 h 672"/>
                <a:gd name="T36" fmla="*/ 106222 w 781"/>
                <a:gd name="T37" fmla="*/ 101987 h 672"/>
                <a:gd name="T38" fmla="*/ 101516 w 781"/>
                <a:gd name="T39" fmla="*/ 107390 h 672"/>
                <a:gd name="T40" fmla="*/ 91432 w 781"/>
                <a:gd name="T41" fmla="*/ 97259 h 672"/>
                <a:gd name="T42" fmla="*/ 79330 w 781"/>
                <a:gd name="T43" fmla="*/ 97259 h 672"/>
                <a:gd name="T44" fmla="*/ 59162 w 781"/>
                <a:gd name="T45" fmla="*/ 106039 h 672"/>
                <a:gd name="T46" fmla="*/ 51094 w 781"/>
                <a:gd name="T47" fmla="*/ 112793 h 672"/>
                <a:gd name="T48" fmla="*/ 40338 w 781"/>
                <a:gd name="T49" fmla="*/ 101987 h 672"/>
                <a:gd name="T50" fmla="*/ 26219 w 781"/>
                <a:gd name="T51" fmla="*/ 101987 h 672"/>
                <a:gd name="T52" fmla="*/ 24203 w 781"/>
                <a:gd name="T53" fmla="*/ 95232 h 672"/>
                <a:gd name="T54" fmla="*/ 10757 w 781"/>
                <a:gd name="T55" fmla="*/ 91180 h 672"/>
                <a:gd name="T56" fmla="*/ 8740 w 781"/>
                <a:gd name="T57" fmla="*/ 60111 h 672"/>
                <a:gd name="T58" fmla="*/ 0 w 781"/>
                <a:gd name="T59" fmla="*/ 49305 h 672"/>
                <a:gd name="T60" fmla="*/ 2689 w 781"/>
                <a:gd name="T61" fmla="*/ 47279 h 67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781"/>
                <a:gd name="T94" fmla="*/ 0 h 672"/>
                <a:gd name="T95" fmla="*/ 781 w 781"/>
                <a:gd name="T96" fmla="*/ 672 h 67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781" h="672">
                  <a:moveTo>
                    <a:pt x="13" y="282"/>
                  </a:moveTo>
                  <a:lnTo>
                    <a:pt x="113" y="192"/>
                  </a:lnTo>
                  <a:lnTo>
                    <a:pt x="88" y="75"/>
                  </a:lnTo>
                  <a:lnTo>
                    <a:pt x="119" y="89"/>
                  </a:lnTo>
                  <a:lnTo>
                    <a:pt x="169" y="21"/>
                  </a:lnTo>
                  <a:lnTo>
                    <a:pt x="205" y="35"/>
                  </a:lnTo>
                  <a:lnTo>
                    <a:pt x="213" y="6"/>
                  </a:lnTo>
                  <a:lnTo>
                    <a:pt x="261" y="0"/>
                  </a:lnTo>
                  <a:lnTo>
                    <a:pt x="284" y="87"/>
                  </a:lnTo>
                  <a:lnTo>
                    <a:pt x="386" y="129"/>
                  </a:lnTo>
                  <a:lnTo>
                    <a:pt x="518" y="129"/>
                  </a:lnTo>
                  <a:lnTo>
                    <a:pt x="526" y="169"/>
                  </a:lnTo>
                  <a:lnTo>
                    <a:pt x="583" y="163"/>
                  </a:lnTo>
                  <a:lnTo>
                    <a:pt x="635" y="223"/>
                  </a:lnTo>
                  <a:lnTo>
                    <a:pt x="668" y="254"/>
                  </a:lnTo>
                  <a:lnTo>
                    <a:pt x="637" y="321"/>
                  </a:lnTo>
                  <a:lnTo>
                    <a:pt x="781" y="530"/>
                  </a:lnTo>
                  <a:lnTo>
                    <a:pt x="739" y="626"/>
                  </a:lnTo>
                  <a:lnTo>
                    <a:pt x="631" y="607"/>
                  </a:lnTo>
                  <a:lnTo>
                    <a:pt x="604" y="639"/>
                  </a:lnTo>
                  <a:lnTo>
                    <a:pt x="541" y="578"/>
                  </a:lnTo>
                  <a:lnTo>
                    <a:pt x="470" y="578"/>
                  </a:lnTo>
                  <a:lnTo>
                    <a:pt x="349" y="632"/>
                  </a:lnTo>
                  <a:lnTo>
                    <a:pt x="301" y="672"/>
                  </a:lnTo>
                  <a:lnTo>
                    <a:pt x="240" y="607"/>
                  </a:lnTo>
                  <a:lnTo>
                    <a:pt x="155" y="607"/>
                  </a:lnTo>
                  <a:lnTo>
                    <a:pt x="142" y="566"/>
                  </a:lnTo>
                  <a:lnTo>
                    <a:pt x="61" y="543"/>
                  </a:lnTo>
                  <a:lnTo>
                    <a:pt x="50" y="357"/>
                  </a:lnTo>
                  <a:lnTo>
                    <a:pt x="0" y="294"/>
                  </a:lnTo>
                  <a:lnTo>
                    <a:pt x="13" y="282"/>
                  </a:lnTo>
                  <a:close/>
                </a:path>
              </a:pathLst>
            </a:custGeom>
            <a:solidFill>
              <a:srgbClr val="92D05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19" name="Freeform 70"/>
            <p:cNvSpPr>
              <a:spLocks/>
            </p:cNvSpPr>
            <p:nvPr/>
          </p:nvSpPr>
          <p:spPr bwMode="gray">
            <a:xfrm>
              <a:off x="8520121" y="3597967"/>
              <a:ext cx="566737" cy="388938"/>
            </a:xfrm>
            <a:custGeom>
              <a:avLst/>
              <a:gdLst>
                <a:gd name="T0" fmla="*/ 0 w 845"/>
                <a:gd name="T1" fmla="*/ 78948 h 528"/>
                <a:gd name="T2" fmla="*/ 2683 w 845"/>
                <a:gd name="T3" fmla="*/ 70094 h 528"/>
                <a:gd name="T4" fmla="*/ 11401 w 845"/>
                <a:gd name="T5" fmla="*/ 63453 h 528"/>
                <a:gd name="T6" fmla="*/ 6706 w 845"/>
                <a:gd name="T7" fmla="*/ 51648 h 528"/>
                <a:gd name="T8" fmla="*/ 9389 w 845"/>
                <a:gd name="T9" fmla="*/ 39105 h 528"/>
                <a:gd name="T10" fmla="*/ 18107 w 845"/>
                <a:gd name="T11" fmla="*/ 45007 h 528"/>
                <a:gd name="T12" fmla="*/ 34203 w 845"/>
                <a:gd name="T13" fmla="*/ 34678 h 528"/>
                <a:gd name="T14" fmla="*/ 44262 w 845"/>
                <a:gd name="T15" fmla="*/ 34678 h 528"/>
                <a:gd name="T16" fmla="*/ 44933 w 845"/>
                <a:gd name="T17" fmla="*/ 16970 h 528"/>
                <a:gd name="T18" fmla="*/ 57675 w 845"/>
                <a:gd name="T19" fmla="*/ 18446 h 528"/>
                <a:gd name="T20" fmla="*/ 61699 w 845"/>
                <a:gd name="T21" fmla="*/ 9592 h 528"/>
                <a:gd name="T22" fmla="*/ 69746 w 845"/>
                <a:gd name="T23" fmla="*/ 6640 h 528"/>
                <a:gd name="T24" fmla="*/ 88524 w 845"/>
                <a:gd name="T25" fmla="*/ 14757 h 528"/>
                <a:gd name="T26" fmla="*/ 97243 w 845"/>
                <a:gd name="T27" fmla="*/ 1476 h 528"/>
                <a:gd name="T28" fmla="*/ 105961 w 845"/>
                <a:gd name="T29" fmla="*/ 0 h 528"/>
                <a:gd name="T30" fmla="*/ 107302 w 845"/>
                <a:gd name="T31" fmla="*/ 8854 h 528"/>
                <a:gd name="T32" fmla="*/ 117362 w 845"/>
                <a:gd name="T33" fmla="*/ 10330 h 528"/>
                <a:gd name="T34" fmla="*/ 120715 w 845"/>
                <a:gd name="T35" fmla="*/ 19921 h 528"/>
                <a:gd name="T36" fmla="*/ 136810 w 845"/>
                <a:gd name="T37" fmla="*/ 29513 h 528"/>
                <a:gd name="T38" fmla="*/ 141505 w 845"/>
                <a:gd name="T39" fmla="*/ 40581 h 528"/>
                <a:gd name="T40" fmla="*/ 132786 w 845"/>
                <a:gd name="T41" fmla="*/ 48697 h 528"/>
                <a:gd name="T42" fmla="*/ 132116 w 845"/>
                <a:gd name="T43" fmla="*/ 49434 h 528"/>
                <a:gd name="T44" fmla="*/ 132786 w 845"/>
                <a:gd name="T45" fmla="*/ 52386 h 528"/>
                <a:gd name="T46" fmla="*/ 116691 w 845"/>
                <a:gd name="T47" fmla="*/ 57551 h 528"/>
                <a:gd name="T48" fmla="*/ 82488 w 845"/>
                <a:gd name="T49" fmla="*/ 90015 h 528"/>
                <a:gd name="T50" fmla="*/ 75782 w 845"/>
                <a:gd name="T51" fmla="*/ 87801 h 528"/>
                <a:gd name="T52" fmla="*/ 59687 w 845"/>
                <a:gd name="T53" fmla="*/ 97393 h 528"/>
                <a:gd name="T54" fmla="*/ 30179 w 845"/>
                <a:gd name="T55" fmla="*/ 82637 h 528"/>
                <a:gd name="T56" fmla="*/ 28167 w 845"/>
                <a:gd name="T57" fmla="*/ 75258 h 528"/>
                <a:gd name="T58" fmla="*/ 18107 w 845"/>
                <a:gd name="T59" fmla="*/ 91491 h 528"/>
                <a:gd name="T60" fmla="*/ 12742 w 845"/>
                <a:gd name="T61" fmla="*/ 82637 h 528"/>
                <a:gd name="T62" fmla="*/ 6706 w 845"/>
                <a:gd name="T63" fmla="*/ 87801 h 528"/>
                <a:gd name="T64" fmla="*/ 0 w 845"/>
                <a:gd name="T65" fmla="*/ 79685 h 528"/>
                <a:gd name="T66" fmla="*/ 0 w 845"/>
                <a:gd name="T67" fmla="*/ 78948 h 5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845"/>
                <a:gd name="T103" fmla="*/ 0 h 528"/>
                <a:gd name="T104" fmla="*/ 845 w 845"/>
                <a:gd name="T105" fmla="*/ 528 h 5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845" h="528">
                  <a:moveTo>
                    <a:pt x="0" y="430"/>
                  </a:moveTo>
                  <a:lnTo>
                    <a:pt x="18" y="380"/>
                  </a:lnTo>
                  <a:lnTo>
                    <a:pt x="68" y="347"/>
                  </a:lnTo>
                  <a:lnTo>
                    <a:pt x="43" y="280"/>
                  </a:lnTo>
                  <a:lnTo>
                    <a:pt x="58" y="213"/>
                  </a:lnTo>
                  <a:lnTo>
                    <a:pt x="110" y="246"/>
                  </a:lnTo>
                  <a:lnTo>
                    <a:pt x="204" y="190"/>
                  </a:lnTo>
                  <a:lnTo>
                    <a:pt x="265" y="190"/>
                  </a:lnTo>
                  <a:lnTo>
                    <a:pt x="269" y="92"/>
                  </a:lnTo>
                  <a:lnTo>
                    <a:pt x="346" y="102"/>
                  </a:lnTo>
                  <a:lnTo>
                    <a:pt x="369" y="54"/>
                  </a:lnTo>
                  <a:lnTo>
                    <a:pt x="419" y="36"/>
                  </a:lnTo>
                  <a:lnTo>
                    <a:pt x="528" y="82"/>
                  </a:lnTo>
                  <a:lnTo>
                    <a:pt x="582" y="10"/>
                  </a:lnTo>
                  <a:lnTo>
                    <a:pt x="632" y="0"/>
                  </a:lnTo>
                  <a:lnTo>
                    <a:pt x="640" y="50"/>
                  </a:lnTo>
                  <a:lnTo>
                    <a:pt x="701" y="59"/>
                  </a:lnTo>
                  <a:lnTo>
                    <a:pt x="720" y="111"/>
                  </a:lnTo>
                  <a:lnTo>
                    <a:pt x="818" y="163"/>
                  </a:lnTo>
                  <a:lnTo>
                    <a:pt x="845" y="223"/>
                  </a:lnTo>
                  <a:lnTo>
                    <a:pt x="793" y="263"/>
                  </a:lnTo>
                  <a:lnTo>
                    <a:pt x="791" y="269"/>
                  </a:lnTo>
                  <a:lnTo>
                    <a:pt x="795" y="286"/>
                  </a:lnTo>
                  <a:lnTo>
                    <a:pt x="697" y="313"/>
                  </a:lnTo>
                  <a:lnTo>
                    <a:pt x="494" y="489"/>
                  </a:lnTo>
                  <a:lnTo>
                    <a:pt x="452" y="476"/>
                  </a:lnTo>
                  <a:lnTo>
                    <a:pt x="359" y="528"/>
                  </a:lnTo>
                  <a:lnTo>
                    <a:pt x="181" y="449"/>
                  </a:lnTo>
                  <a:lnTo>
                    <a:pt x="169" y="411"/>
                  </a:lnTo>
                  <a:lnTo>
                    <a:pt x="110" y="497"/>
                  </a:lnTo>
                  <a:lnTo>
                    <a:pt x="77" y="451"/>
                  </a:lnTo>
                  <a:lnTo>
                    <a:pt x="41" y="476"/>
                  </a:lnTo>
                  <a:lnTo>
                    <a:pt x="0" y="432"/>
                  </a:lnTo>
                  <a:lnTo>
                    <a:pt x="0" y="430"/>
                  </a:lnTo>
                  <a:close/>
                </a:path>
              </a:pathLst>
            </a:custGeom>
            <a:solidFill>
              <a:srgbClr val="92D050"/>
            </a:solidFill>
            <a:ln w="9525">
              <a:solidFill>
                <a:srgbClr val="92D050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endParaRPr lang="en-US" sz="1200">
                <a:solidFill>
                  <a:srgbClr val="000000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238" name="Oval 243"/>
            <p:cNvSpPr>
              <a:spLocks noChangeArrowheads="1"/>
            </p:cNvSpPr>
            <p:nvPr/>
          </p:nvSpPr>
          <p:spPr bwMode="auto">
            <a:xfrm>
              <a:off x="8962352" y="1863358"/>
              <a:ext cx="187325" cy="184150"/>
            </a:xfrm>
            <a:prstGeom prst="ellipse">
              <a:avLst/>
            </a:prstGeom>
            <a:solidFill>
              <a:srgbClr val="4D4D4D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r>
                <a:rPr lang="en-US" sz="1100" b="1" dirty="0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1B</a:t>
              </a:r>
            </a:p>
          </p:txBody>
        </p:sp>
        <p:sp>
          <p:nvSpPr>
            <p:cNvPr id="240" name="Oval 243"/>
            <p:cNvSpPr>
              <a:spLocks noChangeArrowheads="1"/>
            </p:cNvSpPr>
            <p:nvPr/>
          </p:nvSpPr>
          <p:spPr bwMode="auto">
            <a:xfrm>
              <a:off x="8930121" y="3085840"/>
              <a:ext cx="187325" cy="184150"/>
            </a:xfrm>
            <a:prstGeom prst="ellipse">
              <a:avLst/>
            </a:prstGeom>
            <a:solidFill>
              <a:srgbClr val="4D4D4D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r>
                <a:rPr lang="en-US" sz="1100" b="1" dirty="0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2B</a:t>
              </a:r>
            </a:p>
          </p:txBody>
        </p:sp>
        <p:sp>
          <p:nvSpPr>
            <p:cNvPr id="242" name="Oval 243"/>
            <p:cNvSpPr>
              <a:spLocks noChangeArrowheads="1"/>
            </p:cNvSpPr>
            <p:nvPr/>
          </p:nvSpPr>
          <p:spPr bwMode="auto">
            <a:xfrm>
              <a:off x="8209081" y="3286647"/>
              <a:ext cx="187325" cy="184150"/>
            </a:xfrm>
            <a:prstGeom prst="ellipse">
              <a:avLst/>
            </a:prstGeom>
            <a:solidFill>
              <a:srgbClr val="4D4D4D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r>
                <a:rPr lang="en-US" sz="1100" b="1" dirty="0">
                  <a:solidFill>
                    <a:srgbClr val="FFFFFF"/>
                  </a:solidFill>
                  <a:latin typeface="+mj-lt"/>
                  <a:cs typeface="Calibri" panose="020F0502020204030204" pitchFamily="34" charset="0"/>
                </a:rPr>
                <a:t>2A</a:t>
              </a:r>
            </a:p>
          </p:txBody>
        </p:sp>
      </p:grpSp>
      <p:sp>
        <p:nvSpPr>
          <p:cNvPr id="5" name="Figura a mano libera 4"/>
          <p:cNvSpPr/>
          <p:nvPr/>
        </p:nvSpPr>
        <p:spPr>
          <a:xfrm>
            <a:off x="8130545" y="1950455"/>
            <a:ext cx="392021" cy="2914924"/>
          </a:xfrm>
          <a:custGeom>
            <a:avLst/>
            <a:gdLst>
              <a:gd name="connsiteX0" fmla="*/ 259080 w 392021"/>
              <a:gd name="connsiteY0" fmla="*/ 0 h 2914924"/>
              <a:gd name="connsiteX1" fmla="*/ 220980 w 392021"/>
              <a:gd name="connsiteY1" fmla="*/ 15240 h 2914924"/>
              <a:gd name="connsiteX2" fmla="*/ 198120 w 392021"/>
              <a:gd name="connsiteY2" fmla="*/ 68580 h 2914924"/>
              <a:gd name="connsiteX3" fmla="*/ 182880 w 392021"/>
              <a:gd name="connsiteY3" fmla="*/ 114300 h 2914924"/>
              <a:gd name="connsiteX4" fmla="*/ 175260 w 392021"/>
              <a:gd name="connsiteY4" fmla="*/ 137160 h 2914924"/>
              <a:gd name="connsiteX5" fmla="*/ 167640 w 392021"/>
              <a:gd name="connsiteY5" fmla="*/ 350520 h 2914924"/>
              <a:gd name="connsiteX6" fmla="*/ 160020 w 392021"/>
              <a:gd name="connsiteY6" fmla="*/ 381000 h 2914924"/>
              <a:gd name="connsiteX7" fmla="*/ 152400 w 392021"/>
              <a:gd name="connsiteY7" fmla="*/ 419100 h 2914924"/>
              <a:gd name="connsiteX8" fmla="*/ 144780 w 392021"/>
              <a:gd name="connsiteY8" fmla="*/ 441960 h 2914924"/>
              <a:gd name="connsiteX9" fmla="*/ 137160 w 392021"/>
              <a:gd name="connsiteY9" fmla="*/ 487680 h 2914924"/>
              <a:gd name="connsiteX10" fmla="*/ 144780 w 392021"/>
              <a:gd name="connsiteY10" fmla="*/ 762000 h 2914924"/>
              <a:gd name="connsiteX11" fmla="*/ 182880 w 392021"/>
              <a:gd name="connsiteY11" fmla="*/ 800100 h 2914924"/>
              <a:gd name="connsiteX12" fmla="*/ 365760 w 392021"/>
              <a:gd name="connsiteY12" fmla="*/ 822960 h 2914924"/>
              <a:gd name="connsiteX13" fmla="*/ 388620 w 392021"/>
              <a:gd name="connsiteY13" fmla="*/ 838200 h 2914924"/>
              <a:gd name="connsiteX14" fmla="*/ 365760 w 392021"/>
              <a:gd name="connsiteY14" fmla="*/ 937260 h 2914924"/>
              <a:gd name="connsiteX15" fmla="*/ 358140 w 392021"/>
              <a:gd name="connsiteY15" fmla="*/ 967740 h 2914924"/>
              <a:gd name="connsiteX16" fmla="*/ 320040 w 392021"/>
              <a:gd name="connsiteY16" fmla="*/ 1013460 h 2914924"/>
              <a:gd name="connsiteX17" fmla="*/ 266700 w 392021"/>
              <a:gd name="connsiteY17" fmla="*/ 1082040 h 2914924"/>
              <a:gd name="connsiteX18" fmla="*/ 220980 w 392021"/>
              <a:gd name="connsiteY18" fmla="*/ 1112520 h 2914924"/>
              <a:gd name="connsiteX19" fmla="*/ 160020 w 392021"/>
              <a:gd name="connsiteY19" fmla="*/ 1127760 h 2914924"/>
              <a:gd name="connsiteX20" fmla="*/ 114300 w 392021"/>
              <a:gd name="connsiteY20" fmla="*/ 1143000 h 2914924"/>
              <a:gd name="connsiteX21" fmla="*/ 68580 w 392021"/>
              <a:gd name="connsiteY21" fmla="*/ 1173480 h 2914924"/>
              <a:gd name="connsiteX22" fmla="*/ 68580 w 392021"/>
              <a:gd name="connsiteY22" fmla="*/ 1234440 h 2914924"/>
              <a:gd name="connsiteX23" fmla="*/ 76200 w 392021"/>
              <a:gd name="connsiteY23" fmla="*/ 1257300 h 2914924"/>
              <a:gd name="connsiteX24" fmla="*/ 99060 w 392021"/>
              <a:gd name="connsiteY24" fmla="*/ 1272540 h 2914924"/>
              <a:gd name="connsiteX25" fmla="*/ 144780 w 392021"/>
              <a:gd name="connsiteY25" fmla="*/ 1287780 h 2914924"/>
              <a:gd name="connsiteX26" fmla="*/ 213360 w 392021"/>
              <a:gd name="connsiteY26" fmla="*/ 1280160 h 2914924"/>
              <a:gd name="connsiteX27" fmla="*/ 236220 w 392021"/>
              <a:gd name="connsiteY27" fmla="*/ 1272540 h 2914924"/>
              <a:gd name="connsiteX28" fmla="*/ 297180 w 392021"/>
              <a:gd name="connsiteY28" fmla="*/ 1280160 h 2914924"/>
              <a:gd name="connsiteX29" fmla="*/ 320040 w 392021"/>
              <a:gd name="connsiteY29" fmla="*/ 1303020 h 2914924"/>
              <a:gd name="connsiteX30" fmla="*/ 304800 w 392021"/>
              <a:gd name="connsiteY30" fmla="*/ 1363980 h 2914924"/>
              <a:gd name="connsiteX31" fmla="*/ 190500 w 392021"/>
              <a:gd name="connsiteY31" fmla="*/ 1409700 h 2914924"/>
              <a:gd name="connsiteX32" fmla="*/ 144780 w 392021"/>
              <a:gd name="connsiteY32" fmla="*/ 1424940 h 2914924"/>
              <a:gd name="connsiteX33" fmla="*/ 121920 w 392021"/>
              <a:gd name="connsiteY33" fmla="*/ 1432560 h 2914924"/>
              <a:gd name="connsiteX34" fmla="*/ 99060 w 392021"/>
              <a:gd name="connsiteY34" fmla="*/ 1478280 h 2914924"/>
              <a:gd name="connsiteX35" fmla="*/ 129540 w 392021"/>
              <a:gd name="connsiteY35" fmla="*/ 1531620 h 2914924"/>
              <a:gd name="connsiteX36" fmla="*/ 175260 w 392021"/>
              <a:gd name="connsiteY36" fmla="*/ 1562100 h 2914924"/>
              <a:gd name="connsiteX37" fmla="*/ 243840 w 392021"/>
              <a:gd name="connsiteY37" fmla="*/ 1584960 h 2914924"/>
              <a:gd name="connsiteX38" fmla="*/ 266700 w 392021"/>
              <a:gd name="connsiteY38" fmla="*/ 1592580 h 2914924"/>
              <a:gd name="connsiteX39" fmla="*/ 289560 w 392021"/>
              <a:gd name="connsiteY39" fmla="*/ 1607820 h 2914924"/>
              <a:gd name="connsiteX40" fmla="*/ 320040 w 392021"/>
              <a:gd name="connsiteY40" fmla="*/ 1653540 h 2914924"/>
              <a:gd name="connsiteX41" fmla="*/ 312420 w 392021"/>
              <a:gd name="connsiteY41" fmla="*/ 1706880 h 2914924"/>
              <a:gd name="connsiteX42" fmla="*/ 266700 w 392021"/>
              <a:gd name="connsiteY42" fmla="*/ 1722120 h 2914924"/>
              <a:gd name="connsiteX43" fmla="*/ 152400 w 392021"/>
              <a:gd name="connsiteY43" fmla="*/ 1729740 h 2914924"/>
              <a:gd name="connsiteX44" fmla="*/ 106680 w 392021"/>
              <a:gd name="connsiteY44" fmla="*/ 1744980 h 2914924"/>
              <a:gd name="connsiteX45" fmla="*/ 83820 w 392021"/>
              <a:gd name="connsiteY45" fmla="*/ 1767840 h 2914924"/>
              <a:gd name="connsiteX46" fmla="*/ 38100 w 392021"/>
              <a:gd name="connsiteY46" fmla="*/ 1783080 h 2914924"/>
              <a:gd name="connsiteX47" fmla="*/ 0 w 392021"/>
              <a:gd name="connsiteY47" fmla="*/ 1851660 h 2914924"/>
              <a:gd name="connsiteX48" fmla="*/ 7620 w 392021"/>
              <a:gd name="connsiteY48" fmla="*/ 1943100 h 2914924"/>
              <a:gd name="connsiteX49" fmla="*/ 45720 w 392021"/>
              <a:gd name="connsiteY49" fmla="*/ 1981200 h 2914924"/>
              <a:gd name="connsiteX50" fmla="*/ 99060 w 392021"/>
              <a:gd name="connsiteY50" fmla="*/ 2011680 h 2914924"/>
              <a:gd name="connsiteX51" fmla="*/ 121920 w 392021"/>
              <a:gd name="connsiteY51" fmla="*/ 2026920 h 2914924"/>
              <a:gd name="connsiteX52" fmla="*/ 198120 w 392021"/>
              <a:gd name="connsiteY52" fmla="*/ 2034540 h 2914924"/>
              <a:gd name="connsiteX53" fmla="*/ 213360 w 392021"/>
              <a:gd name="connsiteY53" fmla="*/ 2065020 h 2914924"/>
              <a:gd name="connsiteX54" fmla="*/ 45720 w 392021"/>
              <a:gd name="connsiteY54" fmla="*/ 2095500 h 2914924"/>
              <a:gd name="connsiteX55" fmla="*/ 53340 w 392021"/>
              <a:gd name="connsiteY55" fmla="*/ 2125980 h 2914924"/>
              <a:gd name="connsiteX56" fmla="*/ 83820 w 392021"/>
              <a:gd name="connsiteY56" fmla="*/ 2133600 h 2914924"/>
              <a:gd name="connsiteX57" fmla="*/ 137160 w 392021"/>
              <a:gd name="connsiteY57" fmla="*/ 2148840 h 2914924"/>
              <a:gd name="connsiteX58" fmla="*/ 160020 w 392021"/>
              <a:gd name="connsiteY58" fmla="*/ 2164080 h 2914924"/>
              <a:gd name="connsiteX59" fmla="*/ 182880 w 392021"/>
              <a:gd name="connsiteY59" fmla="*/ 2171700 h 2914924"/>
              <a:gd name="connsiteX60" fmla="*/ 205740 w 392021"/>
              <a:gd name="connsiteY60" fmla="*/ 2194560 h 2914924"/>
              <a:gd name="connsiteX61" fmla="*/ 213360 w 392021"/>
              <a:gd name="connsiteY61" fmla="*/ 2308860 h 2914924"/>
              <a:gd name="connsiteX62" fmla="*/ 243840 w 392021"/>
              <a:gd name="connsiteY62" fmla="*/ 2354580 h 2914924"/>
              <a:gd name="connsiteX63" fmla="*/ 228600 w 392021"/>
              <a:gd name="connsiteY63" fmla="*/ 2606040 h 2914924"/>
              <a:gd name="connsiteX64" fmla="*/ 213360 w 392021"/>
              <a:gd name="connsiteY64" fmla="*/ 2651760 h 2914924"/>
              <a:gd name="connsiteX65" fmla="*/ 198120 w 392021"/>
              <a:gd name="connsiteY65" fmla="*/ 2766060 h 2914924"/>
              <a:gd name="connsiteX66" fmla="*/ 190500 w 392021"/>
              <a:gd name="connsiteY66" fmla="*/ 2788920 h 2914924"/>
              <a:gd name="connsiteX67" fmla="*/ 182880 w 392021"/>
              <a:gd name="connsiteY67" fmla="*/ 2895600 h 2914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392021" h="2914924">
                <a:moveTo>
                  <a:pt x="259080" y="0"/>
                </a:moveTo>
                <a:cubicBezTo>
                  <a:pt x="246380" y="5080"/>
                  <a:pt x="232111" y="7290"/>
                  <a:pt x="220980" y="15240"/>
                </a:cubicBezTo>
                <a:cubicBezTo>
                  <a:pt x="204055" y="27329"/>
                  <a:pt x="203245" y="51497"/>
                  <a:pt x="198120" y="68580"/>
                </a:cubicBezTo>
                <a:cubicBezTo>
                  <a:pt x="193504" y="83967"/>
                  <a:pt x="187960" y="99060"/>
                  <a:pt x="182880" y="114300"/>
                </a:cubicBezTo>
                <a:lnTo>
                  <a:pt x="175260" y="137160"/>
                </a:lnTo>
                <a:cubicBezTo>
                  <a:pt x="172720" y="208280"/>
                  <a:pt x="172079" y="279493"/>
                  <a:pt x="167640" y="350520"/>
                </a:cubicBezTo>
                <a:cubicBezTo>
                  <a:pt x="166987" y="360972"/>
                  <a:pt x="162292" y="370777"/>
                  <a:pt x="160020" y="381000"/>
                </a:cubicBezTo>
                <a:cubicBezTo>
                  <a:pt x="157210" y="393643"/>
                  <a:pt x="155541" y="406535"/>
                  <a:pt x="152400" y="419100"/>
                </a:cubicBezTo>
                <a:cubicBezTo>
                  <a:pt x="150452" y="426892"/>
                  <a:pt x="146522" y="434119"/>
                  <a:pt x="144780" y="441960"/>
                </a:cubicBezTo>
                <a:cubicBezTo>
                  <a:pt x="141428" y="457042"/>
                  <a:pt x="139700" y="472440"/>
                  <a:pt x="137160" y="487680"/>
                </a:cubicBezTo>
                <a:cubicBezTo>
                  <a:pt x="139700" y="579120"/>
                  <a:pt x="137764" y="670794"/>
                  <a:pt x="144780" y="762000"/>
                </a:cubicBezTo>
                <a:cubicBezTo>
                  <a:pt x="145949" y="777195"/>
                  <a:pt x="171551" y="795065"/>
                  <a:pt x="182880" y="800100"/>
                </a:cubicBezTo>
                <a:cubicBezTo>
                  <a:pt x="246566" y="828405"/>
                  <a:pt x="285174" y="818483"/>
                  <a:pt x="365760" y="822960"/>
                </a:cubicBezTo>
                <a:cubicBezTo>
                  <a:pt x="373380" y="828040"/>
                  <a:pt x="386982" y="829190"/>
                  <a:pt x="388620" y="838200"/>
                </a:cubicBezTo>
                <a:cubicBezTo>
                  <a:pt x="399722" y="899258"/>
                  <a:pt x="381421" y="895498"/>
                  <a:pt x="365760" y="937260"/>
                </a:cubicBezTo>
                <a:cubicBezTo>
                  <a:pt x="362083" y="947066"/>
                  <a:pt x="362265" y="958114"/>
                  <a:pt x="358140" y="967740"/>
                </a:cubicBezTo>
                <a:cubicBezTo>
                  <a:pt x="347001" y="993732"/>
                  <a:pt x="337517" y="990990"/>
                  <a:pt x="320040" y="1013460"/>
                </a:cubicBezTo>
                <a:cubicBezTo>
                  <a:pt x="294832" y="1045871"/>
                  <a:pt x="295893" y="1059334"/>
                  <a:pt x="266700" y="1082040"/>
                </a:cubicBezTo>
                <a:cubicBezTo>
                  <a:pt x="252242" y="1093285"/>
                  <a:pt x="238356" y="1106728"/>
                  <a:pt x="220980" y="1112520"/>
                </a:cubicBezTo>
                <a:cubicBezTo>
                  <a:pt x="151617" y="1135641"/>
                  <a:pt x="261168" y="1100174"/>
                  <a:pt x="160020" y="1127760"/>
                </a:cubicBezTo>
                <a:cubicBezTo>
                  <a:pt x="144522" y="1131987"/>
                  <a:pt x="127666" y="1134089"/>
                  <a:pt x="114300" y="1143000"/>
                </a:cubicBezTo>
                <a:lnTo>
                  <a:pt x="68580" y="1173480"/>
                </a:lnTo>
                <a:cubicBezTo>
                  <a:pt x="59097" y="1211411"/>
                  <a:pt x="57743" y="1196509"/>
                  <a:pt x="68580" y="1234440"/>
                </a:cubicBezTo>
                <a:cubicBezTo>
                  <a:pt x="70787" y="1242163"/>
                  <a:pt x="71182" y="1251028"/>
                  <a:pt x="76200" y="1257300"/>
                </a:cubicBezTo>
                <a:cubicBezTo>
                  <a:pt x="81921" y="1264451"/>
                  <a:pt x="90691" y="1268821"/>
                  <a:pt x="99060" y="1272540"/>
                </a:cubicBezTo>
                <a:cubicBezTo>
                  <a:pt x="113740" y="1279064"/>
                  <a:pt x="144780" y="1287780"/>
                  <a:pt x="144780" y="1287780"/>
                </a:cubicBezTo>
                <a:cubicBezTo>
                  <a:pt x="167640" y="1285240"/>
                  <a:pt x="190672" y="1283941"/>
                  <a:pt x="213360" y="1280160"/>
                </a:cubicBezTo>
                <a:cubicBezTo>
                  <a:pt x="221283" y="1278840"/>
                  <a:pt x="228188" y="1272540"/>
                  <a:pt x="236220" y="1272540"/>
                </a:cubicBezTo>
                <a:cubicBezTo>
                  <a:pt x="256698" y="1272540"/>
                  <a:pt x="276860" y="1277620"/>
                  <a:pt x="297180" y="1280160"/>
                </a:cubicBezTo>
                <a:cubicBezTo>
                  <a:pt x="304800" y="1287780"/>
                  <a:pt x="319064" y="1292288"/>
                  <a:pt x="320040" y="1303020"/>
                </a:cubicBezTo>
                <a:cubicBezTo>
                  <a:pt x="321936" y="1323879"/>
                  <a:pt x="314167" y="1345246"/>
                  <a:pt x="304800" y="1363980"/>
                </a:cubicBezTo>
                <a:cubicBezTo>
                  <a:pt x="282753" y="1408073"/>
                  <a:pt x="230650" y="1404681"/>
                  <a:pt x="190500" y="1409700"/>
                </a:cubicBezTo>
                <a:lnTo>
                  <a:pt x="144780" y="1424940"/>
                </a:lnTo>
                <a:lnTo>
                  <a:pt x="121920" y="1432560"/>
                </a:lnTo>
                <a:cubicBezTo>
                  <a:pt x="114215" y="1444118"/>
                  <a:pt x="99060" y="1462506"/>
                  <a:pt x="99060" y="1478280"/>
                </a:cubicBezTo>
                <a:cubicBezTo>
                  <a:pt x="99060" y="1504719"/>
                  <a:pt x="109805" y="1516271"/>
                  <a:pt x="129540" y="1531620"/>
                </a:cubicBezTo>
                <a:cubicBezTo>
                  <a:pt x="143998" y="1542865"/>
                  <a:pt x="157884" y="1556308"/>
                  <a:pt x="175260" y="1562100"/>
                </a:cubicBezTo>
                <a:lnTo>
                  <a:pt x="243840" y="1584960"/>
                </a:lnTo>
                <a:cubicBezTo>
                  <a:pt x="251460" y="1587500"/>
                  <a:pt x="260017" y="1588125"/>
                  <a:pt x="266700" y="1592580"/>
                </a:cubicBezTo>
                <a:lnTo>
                  <a:pt x="289560" y="1607820"/>
                </a:lnTo>
                <a:cubicBezTo>
                  <a:pt x="299720" y="1623060"/>
                  <a:pt x="322630" y="1635408"/>
                  <a:pt x="320040" y="1653540"/>
                </a:cubicBezTo>
                <a:cubicBezTo>
                  <a:pt x="317500" y="1671320"/>
                  <a:pt x="323447" y="1692703"/>
                  <a:pt x="312420" y="1706880"/>
                </a:cubicBezTo>
                <a:cubicBezTo>
                  <a:pt x="302557" y="1719560"/>
                  <a:pt x="282729" y="1721051"/>
                  <a:pt x="266700" y="1722120"/>
                </a:cubicBezTo>
                <a:lnTo>
                  <a:pt x="152400" y="1729740"/>
                </a:lnTo>
                <a:cubicBezTo>
                  <a:pt x="137160" y="1734820"/>
                  <a:pt x="118039" y="1733621"/>
                  <a:pt x="106680" y="1744980"/>
                </a:cubicBezTo>
                <a:cubicBezTo>
                  <a:pt x="99060" y="1752600"/>
                  <a:pt x="93240" y="1762607"/>
                  <a:pt x="83820" y="1767840"/>
                </a:cubicBezTo>
                <a:cubicBezTo>
                  <a:pt x="69777" y="1775642"/>
                  <a:pt x="38100" y="1783080"/>
                  <a:pt x="38100" y="1783080"/>
                </a:cubicBezTo>
                <a:cubicBezTo>
                  <a:pt x="3165" y="1835483"/>
                  <a:pt x="13412" y="1811424"/>
                  <a:pt x="0" y="1851660"/>
                </a:cubicBezTo>
                <a:cubicBezTo>
                  <a:pt x="2540" y="1882140"/>
                  <a:pt x="1622" y="1913108"/>
                  <a:pt x="7620" y="1943100"/>
                </a:cubicBezTo>
                <a:cubicBezTo>
                  <a:pt x="12090" y="1965452"/>
                  <a:pt x="31090" y="1969008"/>
                  <a:pt x="45720" y="1981200"/>
                </a:cubicBezTo>
                <a:cubicBezTo>
                  <a:pt x="84633" y="2013627"/>
                  <a:pt x="49722" y="1999345"/>
                  <a:pt x="99060" y="2011680"/>
                </a:cubicBezTo>
                <a:cubicBezTo>
                  <a:pt x="106680" y="2016760"/>
                  <a:pt x="112996" y="2024861"/>
                  <a:pt x="121920" y="2026920"/>
                </a:cubicBezTo>
                <a:cubicBezTo>
                  <a:pt x="146793" y="2032660"/>
                  <a:pt x="174557" y="2024722"/>
                  <a:pt x="198120" y="2034540"/>
                </a:cubicBezTo>
                <a:cubicBezTo>
                  <a:pt x="208605" y="2038909"/>
                  <a:pt x="208280" y="2054860"/>
                  <a:pt x="213360" y="2065020"/>
                </a:cubicBezTo>
                <a:cubicBezTo>
                  <a:pt x="145515" y="2132865"/>
                  <a:pt x="249750" y="2038825"/>
                  <a:pt x="45720" y="2095500"/>
                </a:cubicBezTo>
                <a:cubicBezTo>
                  <a:pt x="35629" y="2098303"/>
                  <a:pt x="45935" y="2118575"/>
                  <a:pt x="53340" y="2125980"/>
                </a:cubicBezTo>
                <a:cubicBezTo>
                  <a:pt x="60745" y="2133385"/>
                  <a:pt x="73750" y="2130723"/>
                  <a:pt x="83820" y="2133600"/>
                </a:cubicBezTo>
                <a:cubicBezTo>
                  <a:pt x="160342" y="2155464"/>
                  <a:pt x="41875" y="2125019"/>
                  <a:pt x="137160" y="2148840"/>
                </a:cubicBezTo>
                <a:cubicBezTo>
                  <a:pt x="144780" y="2153920"/>
                  <a:pt x="151829" y="2159984"/>
                  <a:pt x="160020" y="2164080"/>
                </a:cubicBezTo>
                <a:cubicBezTo>
                  <a:pt x="167204" y="2167672"/>
                  <a:pt x="176197" y="2167245"/>
                  <a:pt x="182880" y="2171700"/>
                </a:cubicBezTo>
                <a:cubicBezTo>
                  <a:pt x="191846" y="2177678"/>
                  <a:pt x="198120" y="2186940"/>
                  <a:pt x="205740" y="2194560"/>
                </a:cubicBezTo>
                <a:cubicBezTo>
                  <a:pt x="208280" y="2232660"/>
                  <a:pt x="204516" y="2271714"/>
                  <a:pt x="213360" y="2308860"/>
                </a:cubicBezTo>
                <a:cubicBezTo>
                  <a:pt x="217602" y="2326678"/>
                  <a:pt x="243840" y="2354580"/>
                  <a:pt x="243840" y="2354580"/>
                </a:cubicBezTo>
                <a:cubicBezTo>
                  <a:pt x="242254" y="2398985"/>
                  <a:pt x="248994" y="2531261"/>
                  <a:pt x="228600" y="2606040"/>
                </a:cubicBezTo>
                <a:cubicBezTo>
                  <a:pt x="224373" y="2621538"/>
                  <a:pt x="218440" y="2636520"/>
                  <a:pt x="213360" y="2651760"/>
                </a:cubicBezTo>
                <a:cubicBezTo>
                  <a:pt x="209691" y="2684777"/>
                  <a:pt x="205721" y="2731856"/>
                  <a:pt x="198120" y="2766060"/>
                </a:cubicBezTo>
                <a:cubicBezTo>
                  <a:pt x="196378" y="2773901"/>
                  <a:pt x="193040" y="2781300"/>
                  <a:pt x="190500" y="2788920"/>
                </a:cubicBezTo>
                <a:cubicBezTo>
                  <a:pt x="182711" y="2905754"/>
                  <a:pt x="182880" y="2941405"/>
                  <a:pt x="182880" y="2895600"/>
                </a:cubicBezTo>
              </a:path>
            </a:pathLst>
          </a:custGeom>
          <a:noFill/>
          <a:ln w="19050">
            <a:solidFill>
              <a:schemeClr val="tx2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4" name="Gruppo 3"/>
          <p:cNvGrpSpPr/>
          <p:nvPr/>
        </p:nvGrpSpPr>
        <p:grpSpPr>
          <a:xfrm>
            <a:off x="7914932" y="2278009"/>
            <a:ext cx="877785" cy="2435969"/>
            <a:chOff x="7914932" y="1462931"/>
            <a:chExt cx="877785" cy="2435969"/>
          </a:xfrm>
        </p:grpSpPr>
        <p:sp>
          <p:nvSpPr>
            <p:cNvPr id="2" name="Figura a mano libera 1"/>
            <p:cNvSpPr/>
            <p:nvPr/>
          </p:nvSpPr>
          <p:spPr>
            <a:xfrm>
              <a:off x="7914932" y="1462931"/>
              <a:ext cx="877785" cy="2435969"/>
            </a:xfrm>
            <a:custGeom>
              <a:avLst/>
              <a:gdLst>
                <a:gd name="connsiteX0" fmla="*/ 619574 w 944566"/>
                <a:gd name="connsiteY0" fmla="*/ 3919 h 2689969"/>
                <a:gd name="connsiteX1" fmla="*/ 476699 w 944566"/>
                <a:gd name="connsiteY1" fmla="*/ 51544 h 2689969"/>
                <a:gd name="connsiteX2" fmla="*/ 257624 w 944566"/>
                <a:gd name="connsiteY2" fmla="*/ 365869 h 2689969"/>
                <a:gd name="connsiteX3" fmla="*/ 943424 w 944566"/>
                <a:gd name="connsiteY3" fmla="*/ 546844 h 2689969"/>
                <a:gd name="connsiteX4" fmla="*/ 67124 w 944566"/>
                <a:gd name="connsiteY4" fmla="*/ 813544 h 2689969"/>
                <a:gd name="connsiteX5" fmla="*/ 829124 w 944566"/>
                <a:gd name="connsiteY5" fmla="*/ 1137394 h 2689969"/>
                <a:gd name="connsiteX6" fmla="*/ 67124 w 944566"/>
                <a:gd name="connsiteY6" fmla="*/ 1461244 h 2689969"/>
                <a:gd name="connsiteX7" fmla="*/ 791024 w 944566"/>
                <a:gd name="connsiteY7" fmla="*/ 1813669 h 2689969"/>
                <a:gd name="connsiteX8" fmla="*/ 449 w 944566"/>
                <a:gd name="connsiteY8" fmla="*/ 1975594 h 2689969"/>
                <a:gd name="connsiteX9" fmla="*/ 676724 w 944566"/>
                <a:gd name="connsiteY9" fmla="*/ 2242294 h 2689969"/>
                <a:gd name="connsiteX10" fmla="*/ 619574 w 944566"/>
                <a:gd name="connsiteY10" fmla="*/ 2689969 h 2689969"/>
                <a:gd name="connsiteX0" fmla="*/ 552793 w 877785"/>
                <a:gd name="connsiteY0" fmla="*/ 3919 h 2689969"/>
                <a:gd name="connsiteX1" fmla="*/ 409918 w 877785"/>
                <a:gd name="connsiteY1" fmla="*/ 51544 h 2689969"/>
                <a:gd name="connsiteX2" fmla="*/ 190843 w 877785"/>
                <a:gd name="connsiteY2" fmla="*/ 365869 h 2689969"/>
                <a:gd name="connsiteX3" fmla="*/ 876643 w 877785"/>
                <a:gd name="connsiteY3" fmla="*/ 546844 h 2689969"/>
                <a:gd name="connsiteX4" fmla="*/ 343 w 877785"/>
                <a:gd name="connsiteY4" fmla="*/ 813544 h 2689969"/>
                <a:gd name="connsiteX5" fmla="*/ 762343 w 877785"/>
                <a:gd name="connsiteY5" fmla="*/ 1137394 h 2689969"/>
                <a:gd name="connsiteX6" fmla="*/ 343 w 877785"/>
                <a:gd name="connsiteY6" fmla="*/ 1461244 h 2689969"/>
                <a:gd name="connsiteX7" fmla="*/ 724243 w 877785"/>
                <a:gd name="connsiteY7" fmla="*/ 1813669 h 2689969"/>
                <a:gd name="connsiteX8" fmla="*/ 149568 w 877785"/>
                <a:gd name="connsiteY8" fmla="*/ 1880344 h 2689969"/>
                <a:gd name="connsiteX9" fmla="*/ 609943 w 877785"/>
                <a:gd name="connsiteY9" fmla="*/ 2242294 h 2689969"/>
                <a:gd name="connsiteX10" fmla="*/ 552793 w 877785"/>
                <a:gd name="connsiteY10" fmla="*/ 2689969 h 2689969"/>
                <a:gd name="connsiteX0" fmla="*/ 552793 w 877785"/>
                <a:gd name="connsiteY0" fmla="*/ 3919 h 2435969"/>
                <a:gd name="connsiteX1" fmla="*/ 409918 w 877785"/>
                <a:gd name="connsiteY1" fmla="*/ 51544 h 2435969"/>
                <a:gd name="connsiteX2" fmla="*/ 190843 w 877785"/>
                <a:gd name="connsiteY2" fmla="*/ 365869 h 2435969"/>
                <a:gd name="connsiteX3" fmla="*/ 876643 w 877785"/>
                <a:gd name="connsiteY3" fmla="*/ 546844 h 2435969"/>
                <a:gd name="connsiteX4" fmla="*/ 343 w 877785"/>
                <a:gd name="connsiteY4" fmla="*/ 813544 h 2435969"/>
                <a:gd name="connsiteX5" fmla="*/ 762343 w 877785"/>
                <a:gd name="connsiteY5" fmla="*/ 1137394 h 2435969"/>
                <a:gd name="connsiteX6" fmla="*/ 343 w 877785"/>
                <a:gd name="connsiteY6" fmla="*/ 1461244 h 2435969"/>
                <a:gd name="connsiteX7" fmla="*/ 724243 w 877785"/>
                <a:gd name="connsiteY7" fmla="*/ 1813669 h 2435969"/>
                <a:gd name="connsiteX8" fmla="*/ 149568 w 877785"/>
                <a:gd name="connsiteY8" fmla="*/ 1880344 h 2435969"/>
                <a:gd name="connsiteX9" fmla="*/ 609943 w 877785"/>
                <a:gd name="connsiteY9" fmla="*/ 2242294 h 2435969"/>
                <a:gd name="connsiteX10" fmla="*/ 622643 w 877785"/>
                <a:gd name="connsiteY10" fmla="*/ 2435969 h 2435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77785" h="2435969">
                  <a:moveTo>
                    <a:pt x="552793" y="3919"/>
                  </a:moveTo>
                  <a:cubicBezTo>
                    <a:pt x="511518" y="-2431"/>
                    <a:pt x="470243" y="-8781"/>
                    <a:pt x="409918" y="51544"/>
                  </a:cubicBezTo>
                  <a:cubicBezTo>
                    <a:pt x="349593" y="111869"/>
                    <a:pt x="113055" y="283319"/>
                    <a:pt x="190843" y="365869"/>
                  </a:cubicBezTo>
                  <a:cubicBezTo>
                    <a:pt x="268630" y="448419"/>
                    <a:pt x="908393" y="472232"/>
                    <a:pt x="876643" y="546844"/>
                  </a:cubicBezTo>
                  <a:cubicBezTo>
                    <a:pt x="844893" y="621457"/>
                    <a:pt x="19393" y="715119"/>
                    <a:pt x="343" y="813544"/>
                  </a:cubicBezTo>
                  <a:cubicBezTo>
                    <a:pt x="-18707" y="911969"/>
                    <a:pt x="762343" y="1029444"/>
                    <a:pt x="762343" y="1137394"/>
                  </a:cubicBezTo>
                  <a:cubicBezTo>
                    <a:pt x="762343" y="1245344"/>
                    <a:pt x="6693" y="1348532"/>
                    <a:pt x="343" y="1461244"/>
                  </a:cubicBezTo>
                  <a:cubicBezTo>
                    <a:pt x="-6007" y="1573956"/>
                    <a:pt x="699372" y="1743819"/>
                    <a:pt x="724243" y="1813669"/>
                  </a:cubicBezTo>
                  <a:cubicBezTo>
                    <a:pt x="749114" y="1883519"/>
                    <a:pt x="168618" y="1808907"/>
                    <a:pt x="149568" y="1880344"/>
                  </a:cubicBezTo>
                  <a:cubicBezTo>
                    <a:pt x="130518" y="1951782"/>
                    <a:pt x="531097" y="2149690"/>
                    <a:pt x="609943" y="2242294"/>
                  </a:cubicBezTo>
                  <a:cubicBezTo>
                    <a:pt x="688789" y="2334898"/>
                    <a:pt x="627406" y="2375644"/>
                    <a:pt x="622643" y="2435969"/>
                  </a:cubicBezTo>
                </a:path>
              </a:pathLst>
            </a:custGeom>
            <a:ln w="38100">
              <a:solidFill>
                <a:srgbClr val="FFFF00"/>
              </a:solidFill>
              <a:prstDash val="sysDash"/>
            </a:ln>
          </p:spPr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889000" fontAlgn="base">
                <a:spcBef>
                  <a:spcPct val="50000"/>
                </a:spcBef>
                <a:spcAft>
                  <a:spcPct val="0"/>
                </a:spcAft>
              </a:pPr>
              <a:endParaRPr lang="it-IT" sz="1200">
                <a:solidFill>
                  <a:srgbClr val="0047A9"/>
                </a:solidFill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3" name="Ovale 2"/>
            <p:cNvSpPr/>
            <p:nvPr/>
          </p:nvSpPr>
          <p:spPr>
            <a:xfrm>
              <a:off x="8224037" y="1562585"/>
              <a:ext cx="78694" cy="64676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/>
            </a:p>
          </p:txBody>
        </p:sp>
        <p:sp>
          <p:nvSpPr>
            <p:cNvPr id="222" name="Ovale 221"/>
            <p:cNvSpPr/>
            <p:nvPr/>
          </p:nvSpPr>
          <p:spPr>
            <a:xfrm>
              <a:off x="8438009" y="1881464"/>
              <a:ext cx="78694" cy="64676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/>
            </a:p>
          </p:txBody>
        </p:sp>
        <p:sp>
          <p:nvSpPr>
            <p:cNvPr id="223" name="Ovale 222"/>
            <p:cNvSpPr/>
            <p:nvPr/>
          </p:nvSpPr>
          <p:spPr>
            <a:xfrm>
              <a:off x="8139565" y="2130495"/>
              <a:ext cx="78694" cy="64676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/>
            </a:p>
          </p:txBody>
        </p:sp>
        <p:sp>
          <p:nvSpPr>
            <p:cNvPr id="224" name="Ovale 223"/>
            <p:cNvSpPr/>
            <p:nvPr/>
          </p:nvSpPr>
          <p:spPr>
            <a:xfrm>
              <a:off x="8298366" y="2421243"/>
              <a:ext cx="78694" cy="64676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/>
            </a:p>
          </p:txBody>
        </p:sp>
        <p:sp>
          <p:nvSpPr>
            <p:cNvPr id="225" name="Ovale 224"/>
            <p:cNvSpPr/>
            <p:nvPr/>
          </p:nvSpPr>
          <p:spPr>
            <a:xfrm>
              <a:off x="8241500" y="2739370"/>
              <a:ext cx="78694" cy="64676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/>
            </a:p>
          </p:txBody>
        </p:sp>
        <p:sp>
          <p:nvSpPr>
            <p:cNvPr id="226" name="Ovale 225"/>
            <p:cNvSpPr/>
            <p:nvPr/>
          </p:nvSpPr>
          <p:spPr>
            <a:xfrm>
              <a:off x="8355465" y="3111649"/>
              <a:ext cx="78694" cy="64676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/>
            </a:p>
          </p:txBody>
        </p:sp>
        <p:sp>
          <p:nvSpPr>
            <p:cNvPr id="234" name="Ovale 233"/>
            <p:cNvSpPr/>
            <p:nvPr/>
          </p:nvSpPr>
          <p:spPr>
            <a:xfrm>
              <a:off x="8193535" y="3280549"/>
              <a:ext cx="78694" cy="64676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/>
            </a:p>
          </p:txBody>
        </p:sp>
      </p:grpSp>
      <p:pic>
        <p:nvPicPr>
          <p:cNvPr id="235" name="Picture 4" descr="https://www.auspostbrand.com.au/media/17555/mail_ap_icon.png"/>
          <p:cNvPicPr>
            <a:picLocks noChangeAspect="1" noChangeArrowheads="1"/>
          </p:cNvPicPr>
          <p:nvPr/>
        </p:nvPicPr>
        <p:blipFill>
          <a:blip r:embed="rId10" cstate="print"/>
          <a:srcRect l="13157" t="23954" r="13077" b="24618"/>
          <a:stretch>
            <a:fillRect/>
          </a:stretch>
        </p:blipFill>
        <p:spPr bwMode="auto">
          <a:xfrm>
            <a:off x="4979497" y="3258584"/>
            <a:ext cx="242887" cy="168275"/>
          </a:xfrm>
          <a:prstGeom prst="rect">
            <a:avLst/>
          </a:prstGeom>
          <a:solidFill>
            <a:schemeClr val="accent3"/>
          </a:solidFill>
        </p:spPr>
      </p:pic>
      <p:sp>
        <p:nvSpPr>
          <p:cNvPr id="243" name="TextBox 554"/>
          <p:cNvSpPr txBox="1"/>
          <p:nvPr/>
        </p:nvSpPr>
        <p:spPr bwMode="auto">
          <a:xfrm>
            <a:off x="4719142" y="3357008"/>
            <a:ext cx="715962" cy="320257"/>
          </a:xfrm>
          <a:prstGeom prst="rect">
            <a:avLst/>
          </a:prstGeom>
          <a:noFill/>
        </p:spPr>
        <p:txBody>
          <a:bodyPr tIns="90000" bIns="90000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 err="1">
                <a:latin typeface="+mj-lt"/>
                <a:cs typeface="Calibri" panose="020F0502020204030204" pitchFamily="34" charset="0"/>
              </a:rPr>
              <a:t>Registrata</a:t>
            </a:r>
            <a:endParaRPr lang="en-GB" sz="900" dirty="0">
              <a:latin typeface="+mj-lt"/>
              <a:cs typeface="Calibri" panose="020F0502020204030204" pitchFamily="34" charset="0"/>
            </a:endParaRPr>
          </a:p>
        </p:txBody>
      </p:sp>
      <p:pic>
        <p:nvPicPr>
          <p:cNvPr id="246" name="Picture 3" descr="C:\Users\Vijayakumar Shruthi\AppData\Local\Microsoft\Windows\Temporary Internet Files\Content.Outlook\GVZR9D97\parcel_ap_icon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492712" y="3173406"/>
            <a:ext cx="300382" cy="322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7" name="TextBox 557"/>
          <p:cNvSpPr txBox="1"/>
          <p:nvPr/>
        </p:nvSpPr>
        <p:spPr bwMode="auto">
          <a:xfrm>
            <a:off x="5401332" y="3375891"/>
            <a:ext cx="601866" cy="320257"/>
          </a:xfrm>
          <a:prstGeom prst="rect">
            <a:avLst/>
          </a:prstGeom>
          <a:noFill/>
        </p:spPr>
        <p:txBody>
          <a:bodyPr wrap="square" tIns="90000" bIns="90000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 err="1">
                <a:latin typeface="+mj-lt"/>
                <a:cs typeface="Calibri" panose="020F0502020204030204" pitchFamily="34" charset="0"/>
              </a:rPr>
              <a:t>Pacchi</a:t>
            </a:r>
            <a:endParaRPr lang="en-GB" sz="900" dirty="0">
              <a:latin typeface="+mj-lt"/>
              <a:cs typeface="Calibri" panose="020F0502020204030204" pitchFamily="34" charset="0"/>
            </a:endParaRPr>
          </a:p>
        </p:txBody>
      </p:sp>
      <p:sp>
        <p:nvSpPr>
          <p:cNvPr id="248" name="Rectangle 533"/>
          <p:cNvSpPr>
            <a:spLocks noChangeArrowheads="1"/>
          </p:cNvSpPr>
          <p:nvPr/>
        </p:nvSpPr>
        <p:spPr bwMode="auto">
          <a:xfrm>
            <a:off x="4786821" y="3117646"/>
            <a:ext cx="1879805" cy="639693"/>
          </a:xfrm>
          <a:prstGeom prst="rect">
            <a:avLst/>
          </a:prstGeom>
          <a:noFill/>
          <a:ln w="9525" algn="ctr">
            <a:solidFill>
              <a:srgbClr val="FF9900"/>
            </a:solidFill>
            <a:prstDash val="lgDash"/>
            <a:round/>
            <a:headEnd/>
            <a:tailEnd/>
          </a:ln>
        </p:spPr>
        <p:txBody>
          <a:bodyPr tIns="91440" bIns="91440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defTabSz="889000"/>
            <a:endParaRPr lang="en-US" sz="1200">
              <a:solidFill>
                <a:srgbClr val="0047A9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249" name="TextBox 550"/>
          <p:cNvSpPr txBox="1"/>
          <p:nvPr/>
        </p:nvSpPr>
        <p:spPr bwMode="auto">
          <a:xfrm>
            <a:off x="4759055" y="3079922"/>
            <a:ext cx="1983414" cy="107722"/>
          </a:xfrm>
          <a:prstGeom prst="rect">
            <a:avLst/>
          </a:prstGeom>
          <a:solidFill>
            <a:srgbClr val="FF9900"/>
          </a:solidFill>
          <a:ln>
            <a:solidFill>
              <a:srgbClr val="F4E601"/>
            </a:solidFill>
          </a:ln>
        </p:spPr>
        <p:txBody>
          <a:bodyPr wrap="square" lIns="0" tIns="0" rIns="0" bIns="0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rgbClr val="000000"/>
                </a:solidFill>
                <a:latin typeface="+mj-lt"/>
                <a:cs typeface="Calibri" panose="020F0502020204030204" pitchFamily="34" charset="0"/>
              </a:rPr>
              <a:t>Posta </a:t>
            </a:r>
            <a:r>
              <a:rPr lang="en-GB" sz="700" dirty="0" err="1">
                <a:solidFill>
                  <a:srgbClr val="000000"/>
                </a:solidFill>
                <a:latin typeface="+mj-lt"/>
                <a:cs typeface="Calibri" panose="020F0502020204030204" pitchFamily="34" charset="0"/>
              </a:rPr>
              <a:t>Descritta</a:t>
            </a:r>
            <a:r>
              <a:rPr lang="en-GB" sz="700" dirty="0">
                <a:solidFill>
                  <a:srgbClr val="000000"/>
                </a:solidFill>
                <a:latin typeface="+mj-lt"/>
                <a:cs typeface="Calibri" panose="020F0502020204030204" pitchFamily="34" charset="0"/>
              </a:rPr>
              <a:t>, </a:t>
            </a:r>
            <a:r>
              <a:rPr lang="en-GB" sz="700" dirty="0" err="1">
                <a:solidFill>
                  <a:srgbClr val="000000"/>
                </a:solidFill>
                <a:latin typeface="+mj-lt"/>
                <a:cs typeface="Calibri" panose="020F0502020204030204" pitchFamily="34" charset="0"/>
              </a:rPr>
              <a:t>Pacchi</a:t>
            </a:r>
            <a:r>
              <a:rPr lang="en-GB" sz="700" dirty="0">
                <a:solidFill>
                  <a:srgbClr val="000000"/>
                </a:solidFill>
                <a:latin typeface="+mj-lt"/>
                <a:cs typeface="Calibri" panose="020F0502020204030204" pitchFamily="34" charset="0"/>
              </a:rPr>
              <a:t> e </a:t>
            </a:r>
            <a:r>
              <a:rPr lang="en-GB" sz="700" dirty="0" err="1">
                <a:solidFill>
                  <a:srgbClr val="000000"/>
                </a:solidFill>
                <a:latin typeface="+mj-lt"/>
                <a:cs typeface="Calibri" panose="020F0502020204030204" pitchFamily="34" charset="0"/>
              </a:rPr>
              <a:t>Cartelle</a:t>
            </a:r>
            <a:r>
              <a:rPr lang="en-GB" sz="700" dirty="0">
                <a:solidFill>
                  <a:srgbClr val="000000"/>
                </a:solidFill>
                <a:latin typeface="+mj-lt"/>
                <a:cs typeface="Calibri" panose="020F0502020204030204" pitchFamily="34" charset="0"/>
              </a:rPr>
              <a:t> </a:t>
            </a:r>
            <a:r>
              <a:rPr lang="en-GB" sz="700" dirty="0" err="1">
                <a:solidFill>
                  <a:srgbClr val="000000"/>
                </a:solidFill>
                <a:latin typeface="+mj-lt"/>
                <a:cs typeface="Calibri" panose="020F0502020204030204" pitchFamily="34" charset="0"/>
              </a:rPr>
              <a:t>Esattoriali</a:t>
            </a:r>
            <a:endParaRPr lang="en-GB" sz="700" dirty="0">
              <a:solidFill>
                <a:srgbClr val="000000"/>
              </a:solidFill>
              <a:latin typeface="+mj-lt"/>
              <a:cs typeface="Calibri" panose="020F0502020204030204" pitchFamily="34" charset="0"/>
            </a:endParaRPr>
          </a:p>
        </p:txBody>
      </p:sp>
      <p:pic>
        <p:nvPicPr>
          <p:cNvPr id="250" name="clipart_miscellaneous_contracts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119559" y="3239558"/>
            <a:ext cx="219526" cy="210230"/>
          </a:xfrm>
          <a:prstGeom prst="rect">
            <a:avLst/>
          </a:prstGeom>
          <a:solidFill>
            <a:srgbClr val="9C3328"/>
          </a:solidFill>
          <a:ln w="9525">
            <a:noFill/>
            <a:miter lim="800000"/>
            <a:headEnd/>
            <a:tailEnd/>
          </a:ln>
        </p:spPr>
      </p:pic>
      <p:sp>
        <p:nvSpPr>
          <p:cNvPr id="251" name="TextBox 518"/>
          <p:cNvSpPr txBox="1"/>
          <p:nvPr/>
        </p:nvSpPr>
        <p:spPr bwMode="auto">
          <a:xfrm>
            <a:off x="5934814" y="3349458"/>
            <a:ext cx="942974" cy="458757"/>
          </a:xfrm>
          <a:prstGeom prst="rect">
            <a:avLst/>
          </a:prstGeom>
          <a:noFill/>
        </p:spPr>
        <p:txBody>
          <a:bodyPr tIns="90000" bIns="90000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 err="1">
                <a:latin typeface="+mj-lt"/>
                <a:cs typeface="Calibri" panose="020F0502020204030204" pitchFamily="34" charset="0"/>
              </a:rPr>
              <a:t>Cartelle</a:t>
            </a:r>
            <a:r>
              <a:rPr lang="en-GB" sz="900" dirty="0">
                <a:latin typeface="+mj-lt"/>
                <a:cs typeface="Calibri" panose="020F0502020204030204" pitchFamily="34" charset="0"/>
              </a:rPr>
              <a:t> </a:t>
            </a:r>
            <a:r>
              <a:rPr lang="en-GB" sz="900" dirty="0" err="1">
                <a:latin typeface="+mj-lt"/>
                <a:cs typeface="Calibri" panose="020F0502020204030204" pitchFamily="34" charset="0"/>
              </a:rPr>
              <a:t>esattoriali</a:t>
            </a:r>
            <a:endParaRPr lang="en-GB" sz="900" dirty="0">
              <a:latin typeface="+mj-lt"/>
              <a:cs typeface="Calibri" panose="020F0502020204030204" pitchFamily="34" charset="0"/>
            </a:endParaRPr>
          </a:p>
        </p:txBody>
      </p:sp>
      <p:sp>
        <p:nvSpPr>
          <p:cNvPr id="254" name="Rettangolo 253"/>
          <p:cNvSpPr/>
          <p:nvPr/>
        </p:nvSpPr>
        <p:spPr>
          <a:xfrm>
            <a:off x="6869771" y="2327894"/>
            <a:ext cx="44114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b="1" dirty="0">
                <a:solidFill>
                  <a:schemeClr val="bg1"/>
                </a:solidFill>
                <a:cs typeface="Calibri" panose="020F0502020204030204" pitchFamily="34" charset="0"/>
                <a:sym typeface="Wingdings" pitchFamily="2" charset="2"/>
              </a:rPr>
              <a:t>2x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255" name="Rettangolo 254"/>
          <p:cNvSpPr/>
          <p:nvPr/>
        </p:nvSpPr>
        <p:spPr>
          <a:xfrm>
            <a:off x="6869771" y="3678458"/>
            <a:ext cx="44114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b="1" dirty="0">
                <a:solidFill>
                  <a:schemeClr val="bg1"/>
                </a:solidFill>
                <a:cs typeface="Calibri" panose="020F0502020204030204" pitchFamily="34" charset="0"/>
                <a:sym typeface="Wingdings" pitchFamily="2" charset="2"/>
              </a:rPr>
              <a:t>2x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220" name="Rettangolo 20"/>
          <p:cNvSpPr>
            <a:spLocks noChangeArrowheads="1"/>
          </p:cNvSpPr>
          <p:nvPr/>
        </p:nvSpPr>
        <p:spPr bwMode="auto">
          <a:xfrm>
            <a:off x="158750" y="1596494"/>
            <a:ext cx="3750207" cy="24079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 defTabSz="889000"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1400" b="1" dirty="0">
                <a:solidFill>
                  <a:srgbClr val="706F6F"/>
                </a:solidFill>
                <a:latin typeface="+mj-lt"/>
                <a:cs typeface="Calibri" panose="020F0502020204030204" pitchFamily="34" charset="0"/>
              </a:rPr>
              <a:t>ATTUALE</a:t>
            </a:r>
          </a:p>
        </p:txBody>
      </p:sp>
      <p:sp>
        <p:nvSpPr>
          <p:cNvPr id="221" name="Rettangolo 20"/>
          <p:cNvSpPr>
            <a:spLocks noChangeArrowheads="1"/>
          </p:cNvSpPr>
          <p:nvPr/>
        </p:nvSpPr>
        <p:spPr bwMode="auto">
          <a:xfrm>
            <a:off x="4738391" y="1605113"/>
            <a:ext cx="3861260" cy="24079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 defTabSz="889000"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1400" b="1" dirty="0">
                <a:solidFill>
                  <a:srgbClr val="706F6F"/>
                </a:solidFill>
                <a:latin typeface="+mj-lt"/>
                <a:cs typeface="Calibri" panose="020F0502020204030204" pitchFamily="34" charset="0"/>
              </a:rPr>
              <a:t>RETE FUTURA</a:t>
            </a:r>
          </a:p>
        </p:txBody>
      </p:sp>
      <p:pic>
        <p:nvPicPr>
          <p:cNvPr id="216" name="Picture 4" descr="http://www.ocbf.ca/2012/sites/default/files/img/chrishome/mail.jpg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6924630" y="4022305"/>
            <a:ext cx="295276" cy="376238"/>
          </a:xfrm>
          <a:prstGeom prst="rect">
            <a:avLst/>
          </a:prstGeom>
          <a:noFill/>
          <a:ln w="9525">
            <a:solidFill>
              <a:schemeClr val="tx1">
                <a:lumMod val="60000"/>
                <a:lumOff val="40000"/>
              </a:schemeClr>
            </a:solidFill>
            <a:miter lim="800000"/>
            <a:headEnd/>
            <a:tailEnd/>
          </a:ln>
        </p:spPr>
      </p:pic>
      <p:grpSp>
        <p:nvGrpSpPr>
          <p:cNvPr id="217" name="Group 525"/>
          <p:cNvGrpSpPr>
            <a:grpSpLocks/>
          </p:cNvGrpSpPr>
          <p:nvPr/>
        </p:nvGrpSpPr>
        <p:grpSpPr bwMode="auto">
          <a:xfrm>
            <a:off x="4786821" y="4899424"/>
            <a:ext cx="704850" cy="355642"/>
            <a:chOff x="674263" y="2211573"/>
            <a:chExt cx="754062" cy="386101"/>
          </a:xfrm>
        </p:grpSpPr>
        <p:grpSp>
          <p:nvGrpSpPr>
            <p:cNvPr id="227" name="Group 64"/>
            <p:cNvGrpSpPr>
              <a:grpSpLocks/>
            </p:cNvGrpSpPr>
            <p:nvPr/>
          </p:nvGrpSpPr>
          <p:grpSpPr bwMode="auto">
            <a:xfrm>
              <a:off x="825412" y="2211573"/>
              <a:ext cx="462786" cy="327241"/>
              <a:chOff x="1394396" y="4584584"/>
              <a:chExt cx="995605" cy="720000"/>
            </a:xfrm>
          </p:grpSpPr>
          <p:pic>
            <p:nvPicPr>
              <p:cNvPr id="229" name="Picture 541" descr="mail_ap_icon.png"/>
              <p:cNvPicPr>
                <a:picLocks noChangeAspect="1"/>
              </p:cNvPicPr>
              <p:nvPr/>
            </p:nvPicPr>
            <p:blipFill>
              <a:blip r:embed="rId10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670001" y="4584584"/>
                <a:ext cx="720000" cy="72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230" name="Straight Connector 542"/>
              <p:cNvCxnSpPr/>
              <p:nvPr/>
            </p:nvCxnSpPr>
            <p:spPr>
              <a:xfrm flipH="1">
                <a:off x="1394396" y="4823793"/>
                <a:ext cx="361715" cy="0"/>
              </a:xfrm>
              <a:prstGeom prst="line">
                <a:avLst/>
              </a:prstGeom>
              <a:ln w="57150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1" name="Straight Connector 543"/>
              <p:cNvCxnSpPr/>
              <p:nvPr/>
            </p:nvCxnSpPr>
            <p:spPr>
              <a:xfrm flipH="1">
                <a:off x="1467469" y="4941346"/>
                <a:ext cx="288642" cy="0"/>
              </a:xfrm>
              <a:prstGeom prst="line">
                <a:avLst/>
              </a:prstGeom>
              <a:ln w="57150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Straight Connector 544"/>
              <p:cNvCxnSpPr/>
              <p:nvPr/>
            </p:nvCxnSpPr>
            <p:spPr>
              <a:xfrm flipH="1">
                <a:off x="1536890" y="5055106"/>
                <a:ext cx="219221" cy="0"/>
              </a:xfrm>
              <a:prstGeom prst="line">
                <a:avLst/>
              </a:prstGeom>
              <a:ln w="57150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8" name="TextBox 540"/>
            <p:cNvSpPr txBox="1"/>
            <p:nvPr/>
          </p:nvSpPr>
          <p:spPr>
            <a:xfrm>
              <a:off x="674263" y="2447313"/>
              <a:ext cx="754062" cy="150361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>
              <a:defPPr>
                <a:defRPr lang="en-GB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00" dirty="0" err="1">
                  <a:latin typeface="+mj-lt"/>
                  <a:cs typeface="Calibri" panose="020F0502020204030204" pitchFamily="34" charset="0"/>
                </a:rPr>
                <a:t>Prioritaria</a:t>
              </a:r>
              <a:endParaRPr lang="en-GB" sz="900" dirty="0">
                <a:latin typeface="+mj-lt"/>
                <a:cs typeface="Calibri" panose="020F0502020204030204" pitchFamily="34" charset="0"/>
              </a:endParaRPr>
            </a:p>
          </p:txBody>
        </p:sp>
      </p:grpSp>
      <p:sp>
        <p:nvSpPr>
          <p:cNvPr id="233" name="Title 1">
            <a:extLst>
              <a:ext uri="{FF2B5EF4-FFF2-40B4-BE49-F238E27FC236}">
                <a16:creationId xmlns="" xmlns:a16="http://schemas.microsoft.com/office/drawing/2014/main" id="{92B5B972-E777-40B1-8937-DDE8BBC35E8D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70247" y="30165"/>
            <a:ext cx="8274050" cy="363535"/>
          </a:xfrm>
          <a:prstGeom prst="rect">
            <a:avLst/>
          </a:prstGeom>
        </p:spPr>
        <p:txBody>
          <a:bodyPr anchor="t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altLang="it-IT" sz="2000" dirty="0"/>
              <a:t>Modello joint delivery</a:t>
            </a:r>
          </a:p>
        </p:txBody>
      </p:sp>
      <p:sp>
        <p:nvSpPr>
          <p:cNvPr id="236" name="Segnaposto testo 6">
            <a:extLst>
              <a:ext uri="{FF2B5EF4-FFF2-40B4-BE49-F238E27FC236}">
                <a16:creationId xmlns="" xmlns:a16="http://schemas.microsoft.com/office/drawing/2014/main" id="{177368FC-BEE5-4BA6-8D93-E526FC3FE3C4}"/>
              </a:ext>
            </a:extLst>
          </p:cNvPr>
          <p:cNvSpPr txBox="1">
            <a:spLocks/>
          </p:cNvSpPr>
          <p:nvPr/>
        </p:nvSpPr>
        <p:spPr>
          <a:xfrm>
            <a:off x="196720" y="387872"/>
            <a:ext cx="8563940" cy="3857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indent="0" defTabSz="685800">
              <a:lnSpc>
                <a:spcPct val="90000"/>
              </a:lnSpc>
              <a:spcBef>
                <a:spcPts val="750"/>
              </a:spcBef>
              <a:buClr>
                <a:srgbClr val="707173"/>
              </a:buClr>
              <a:buSzPct val="120000"/>
              <a:buFont typeface="Arial" panose="020B0604020202020204" pitchFamily="34" charset="0"/>
              <a:buNone/>
              <a:defRPr lang="it-IT" sz="1400" cap="all" baseline="0">
                <a:solidFill>
                  <a:schemeClr val="tx2"/>
                </a:solidFill>
              </a:defRPr>
            </a:lvl1pPr>
            <a:lvl2pPr marL="342900" indent="0" defTabSz="685800">
              <a:lnSpc>
                <a:spcPct val="90000"/>
              </a:lnSpc>
              <a:spcBef>
                <a:spcPts val="375"/>
              </a:spcBef>
              <a:buClr>
                <a:schemeClr val="accent4"/>
              </a:buClr>
              <a:buSzPct val="100000"/>
              <a:buFont typeface="Courier New" panose="02070309020205020404" pitchFamily="49" charset="0"/>
              <a:buNone/>
              <a:defRPr lang="it-IT" sz="1350"/>
            </a:lvl2pPr>
            <a:lvl3pPr marL="685800" indent="0" defTabSz="685800">
              <a:lnSpc>
                <a:spcPct val="90000"/>
              </a:lnSpc>
              <a:spcBef>
                <a:spcPts val="375"/>
              </a:spcBef>
              <a:buClr>
                <a:schemeClr val="accent4"/>
              </a:buClr>
              <a:buFont typeface="Arial" panose="020B0604020202020204" pitchFamily="34" charset="0"/>
              <a:buNone/>
              <a:defRPr lang="it-IT" sz="1200"/>
            </a:lvl3pPr>
            <a:lvl4pPr marL="1028700" indent="0" defTabSz="685800">
              <a:lnSpc>
                <a:spcPct val="90000"/>
              </a:lnSpc>
              <a:spcBef>
                <a:spcPts val="375"/>
              </a:spcBef>
              <a:buClr>
                <a:schemeClr val="accent4"/>
              </a:buClr>
              <a:buSzPct val="80000"/>
              <a:buFont typeface="Courier New" panose="02070309020205020404" pitchFamily="49" charset="0"/>
              <a:buNone/>
              <a:defRPr lang="it-IT" sz="1050"/>
            </a:lvl4pPr>
            <a:lvl5pPr marL="1371600" indent="0" defTabSz="685800">
              <a:lnSpc>
                <a:spcPct val="90000"/>
              </a:lnSpc>
              <a:spcBef>
                <a:spcPts val="375"/>
              </a:spcBef>
              <a:buClr>
                <a:srgbClr val="707173"/>
              </a:buClr>
              <a:buSzPct val="60000"/>
              <a:buFont typeface="Arial" panose="020B0604020202020204" pitchFamily="34" charset="0"/>
              <a:buNone/>
              <a:defRPr lang="it-IT" sz="1050"/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r>
              <a:rPr lang="it-IT" dirty="0"/>
              <a:t>Modello di funzionamento in altri centri urbani</a:t>
            </a:r>
          </a:p>
        </p:txBody>
      </p:sp>
    </p:spTree>
    <p:extLst>
      <p:ext uri="{BB962C8B-B14F-4D97-AF65-F5344CB8AC3E}">
        <p14:creationId xmlns:p14="http://schemas.microsoft.com/office/powerpoint/2010/main" val="3212157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0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4.62654099999999957049E+00&quot;&gt;&lt;m_msothmcolidx val=&quot;0&quot;/&gt;&lt;m_rgb r=&quot;5B&quot; g=&quot;EA&quot; b=&quot;06&quot;/&gt;&lt;m_nBrightness val=&quot;0&quot;/&gt;&lt;/elem&gt;&lt;elem m_fUsage=&quot;5.90490000000000181402E-01&quot;&gt;&lt;m_msothmcolidx val=&quot;0&quot;/&gt;&lt;m_rgb r=&quot;2E&quot; g=&quot;74&quot; b=&quot;03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OEcCuvdkuqYSlSIeMQ2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OEcCuvdkuqYSlSIeMQ2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heme/theme1.xml><?xml version="1.0" encoding="utf-8"?>
<a:theme xmlns:a="http://schemas.openxmlformats.org/drawingml/2006/main" name="Tema Poste">
  <a:themeElements>
    <a:clrScheme name="Poste">
      <a:dk1>
        <a:srgbClr val="706F6F"/>
      </a:dk1>
      <a:lt1>
        <a:sysClr val="window" lastClr="FFFFFF"/>
      </a:lt1>
      <a:dk2>
        <a:srgbClr val="0047BB"/>
      </a:dk2>
      <a:lt2>
        <a:srgbClr val="E7E6E6"/>
      </a:lt2>
      <a:accent1>
        <a:srgbClr val="EEDC00"/>
      </a:accent1>
      <a:accent2>
        <a:srgbClr val="0047BB"/>
      </a:accent2>
      <a:accent3>
        <a:srgbClr val="706F6F"/>
      </a:accent3>
      <a:accent4>
        <a:srgbClr val="C0C0C0"/>
      </a:accent4>
      <a:accent5>
        <a:srgbClr val="00B0F0"/>
      </a:accent5>
      <a:accent6>
        <a:srgbClr val="0070C0"/>
      </a:accent6>
      <a:hlink>
        <a:srgbClr val="0047BB"/>
      </a:hlink>
      <a:folHlink>
        <a:srgbClr val="002060"/>
      </a:folHlink>
    </a:clrScheme>
    <a:fontScheme name="Pos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ema Poste" id="{0A4B8638-53E6-4A94-8E22-F8D99DB4BEB6}" vid="{4DA813B9-AA7B-4999-BBA6-A0FC37714231}"/>
    </a:ext>
  </a:extLst>
</a:theme>
</file>

<file path=ppt/theme/theme2.xml><?xml version="1.0" encoding="utf-8"?>
<a:theme xmlns:a="http://schemas.openxmlformats.org/drawingml/2006/main" name="9_personale">
  <a:themeElements>
    <a:clrScheme name="Poste">
      <a:dk1>
        <a:srgbClr val="0047A9"/>
      </a:dk1>
      <a:lt1>
        <a:srgbClr val="FFFFFF"/>
      </a:lt1>
      <a:dk2>
        <a:srgbClr val="0047A9"/>
      </a:dk2>
      <a:lt2>
        <a:srgbClr val="808080"/>
      </a:lt2>
      <a:accent1>
        <a:srgbClr val="E2E2E2"/>
      </a:accent1>
      <a:accent2>
        <a:srgbClr val="D2E0E6"/>
      </a:accent2>
      <a:accent3>
        <a:srgbClr val="FFFFFF"/>
      </a:accent3>
      <a:accent4>
        <a:srgbClr val="0047A9"/>
      </a:accent4>
      <a:accent5>
        <a:srgbClr val="EEEEEE"/>
      </a:accent5>
      <a:accent6>
        <a:srgbClr val="B2C7CA"/>
      </a:accent6>
      <a:hlink>
        <a:srgbClr val="376092"/>
      </a:hlink>
      <a:folHlink>
        <a:srgbClr val="8DB4E2"/>
      </a:folHlink>
    </a:clrScheme>
    <a:fontScheme name="Post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rgbClr val="0047A9"/>
          </a:solidFill>
        </a:ln>
      </a:spPr>
      <a:bodyPr vert="horz" wrap="square" lIns="91440" tIns="91440" rIns="91440" bIns="91440" numCol="1" rtlCol="0" anchor="t" anchorCtr="0" compatLnSpc="1">
        <a:prstTxWarp prst="textNoShape">
          <a:avLst/>
        </a:prstTxWarp>
        <a:spAutoFit/>
      </a:bodyPr>
      <a:lstStyle>
        <a:defPPr marL="0" marR="0" indent="0" algn="ctr" defTabSz="8890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anchor="t" anchorCtr="0" compatLnSpc="1">
        <a:prstTxWarp prst="textNoShape">
          <a:avLst/>
        </a:prstTxWarp>
        <a:spAutoFit/>
      </a:bodyPr>
      <a:lstStyle>
        <a:defPPr marL="0" marR="0" indent="0" algn="ctr" defTabSz="8890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+mn-lt"/>
            <a:cs typeface="+mn-cs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personale">
  <a:themeElements>
    <a:clrScheme name="Poste">
      <a:dk1>
        <a:srgbClr val="0047A9"/>
      </a:dk1>
      <a:lt1>
        <a:srgbClr val="FFFFFF"/>
      </a:lt1>
      <a:dk2>
        <a:srgbClr val="0047A9"/>
      </a:dk2>
      <a:lt2>
        <a:srgbClr val="808080"/>
      </a:lt2>
      <a:accent1>
        <a:srgbClr val="E2E2E2"/>
      </a:accent1>
      <a:accent2>
        <a:srgbClr val="D2E0E6"/>
      </a:accent2>
      <a:accent3>
        <a:srgbClr val="FFFFFF"/>
      </a:accent3>
      <a:accent4>
        <a:srgbClr val="0047A9"/>
      </a:accent4>
      <a:accent5>
        <a:srgbClr val="EEEEEE"/>
      </a:accent5>
      <a:accent6>
        <a:srgbClr val="B2C7CA"/>
      </a:accent6>
      <a:hlink>
        <a:srgbClr val="376092"/>
      </a:hlink>
      <a:folHlink>
        <a:srgbClr val="8DB4E2"/>
      </a:folHlink>
    </a:clrScheme>
    <a:fontScheme name="Poste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rgbClr val="0047A9"/>
          </a:solidFill>
        </a:ln>
      </a:spPr>
      <a:bodyPr vert="horz" wrap="square" lIns="91440" tIns="91440" rIns="91440" bIns="91440" numCol="1" rtlCol="0" anchor="t" anchorCtr="0" compatLnSpc="1">
        <a:prstTxWarp prst="textNoShape">
          <a:avLst/>
        </a:prstTxWarp>
        <a:spAutoFit/>
      </a:bodyPr>
      <a:lstStyle>
        <a:defPPr marL="0" marR="0" indent="0" algn="ctr" defTabSz="8890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anchor="t" anchorCtr="0" compatLnSpc="1">
        <a:prstTxWarp prst="textNoShape">
          <a:avLst/>
        </a:prstTxWarp>
        <a:spAutoFit/>
      </a:bodyPr>
      <a:lstStyle>
        <a:defPPr marL="0" marR="0" indent="0" algn="ctr" defTabSz="8890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+mn-lt"/>
            <a:cs typeface="+mn-cs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Tema Poste">
  <a:themeElements>
    <a:clrScheme name="Poste">
      <a:dk1>
        <a:srgbClr val="706F6F"/>
      </a:dk1>
      <a:lt1>
        <a:sysClr val="window" lastClr="FFFFFF"/>
      </a:lt1>
      <a:dk2>
        <a:srgbClr val="0047BB"/>
      </a:dk2>
      <a:lt2>
        <a:srgbClr val="E7E6E6"/>
      </a:lt2>
      <a:accent1>
        <a:srgbClr val="EEDC00"/>
      </a:accent1>
      <a:accent2>
        <a:srgbClr val="0047BB"/>
      </a:accent2>
      <a:accent3>
        <a:srgbClr val="706F6F"/>
      </a:accent3>
      <a:accent4>
        <a:srgbClr val="C0C0C0"/>
      </a:accent4>
      <a:accent5>
        <a:srgbClr val="00B0F0"/>
      </a:accent5>
      <a:accent6>
        <a:srgbClr val="0070C0"/>
      </a:accent6>
      <a:hlink>
        <a:srgbClr val="0047BB"/>
      </a:hlink>
      <a:folHlink>
        <a:srgbClr val="002060"/>
      </a:folHlink>
    </a:clrScheme>
    <a:fontScheme name="Pos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ema Poste" id="{0A4B8638-53E6-4A94-8E22-F8D99DB4BEB6}" vid="{4DA813B9-AA7B-4999-BBA6-A0FC37714231}"/>
    </a:ext>
  </a:extLst>
</a:theme>
</file>

<file path=ppt/theme/theme5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a Poste</Template>
  <TotalTime>14540</TotalTime>
  <Words>475</Words>
  <Application>Microsoft Office PowerPoint</Application>
  <PresentationFormat>Presentazione su schermo (4:3)</PresentationFormat>
  <Paragraphs>134</Paragraphs>
  <Slides>5</Slides>
  <Notes>3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4</vt:i4>
      </vt:variant>
      <vt:variant>
        <vt:lpstr>Server OLE incorporati</vt:lpstr>
      </vt:variant>
      <vt:variant>
        <vt:i4>2</vt:i4>
      </vt:variant>
      <vt:variant>
        <vt:lpstr>Titoli diapositive</vt:lpstr>
      </vt:variant>
      <vt:variant>
        <vt:i4>5</vt:i4>
      </vt:variant>
    </vt:vector>
  </HeadingPairs>
  <TitlesOfParts>
    <vt:vector size="17" baseType="lpstr">
      <vt:lpstr>Arial</vt:lpstr>
      <vt:lpstr>Arial Black</vt:lpstr>
      <vt:lpstr>Calibri</vt:lpstr>
      <vt:lpstr>Courier New</vt:lpstr>
      <vt:lpstr>Trebuchet MS</vt:lpstr>
      <vt:lpstr>Wingdings</vt:lpstr>
      <vt:lpstr>Tema Poste</vt:lpstr>
      <vt:lpstr>9_personale</vt:lpstr>
      <vt:lpstr>personale</vt:lpstr>
      <vt:lpstr>3_Tema Poste</vt:lpstr>
      <vt:lpstr>Diapositiva think-cell</vt:lpstr>
      <vt:lpstr>think-cell Slide</vt:lpstr>
      <vt:lpstr>Modello joint delivery</vt:lpstr>
      <vt:lpstr>Articolazioni di recapito</vt:lpstr>
      <vt:lpstr>Articolazioni di recapito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PT Poste Italiane - manuale completo 16_9</dc:title>
  <dc:creator>MRG</dc:creator>
  <cp:lastModifiedBy>CALABRITTO ILARIA GIORGIA (RUO)</cp:lastModifiedBy>
  <cp:revision>590</cp:revision>
  <cp:lastPrinted>2017-02-27T11:30:26Z</cp:lastPrinted>
  <dcterms:created xsi:type="dcterms:W3CDTF">2016-06-13T14:22:27Z</dcterms:created>
  <dcterms:modified xsi:type="dcterms:W3CDTF">2018-02-08T17:52:33Z</dcterms:modified>
</cp:coreProperties>
</file>